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slideLayouts/slideLayout3.xml" ContentType="application/vnd.openxmlformats-officedocument.presentationml.slideLayout+xml"/>
  <Override PartName="/ppt/theme/theme4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6.xml" ContentType="application/vnd.openxmlformats-officedocument.presentationml.slideLayout+xml"/>
  <Override PartName="/ppt/theme/theme7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8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2" r:id="rId6"/>
    <p:sldMasterId id="2147483685" r:id="rId7"/>
    <p:sldMasterId id="2147483691" r:id="rId8"/>
    <p:sldMasterId id="2147483694" r:id="rId9"/>
    <p:sldMasterId id="2147483697" r:id="rId10"/>
    <p:sldMasterId id="2147483687" r:id="rId11"/>
    <p:sldMasterId id="2147483709" r:id="rId12"/>
    <p:sldMasterId id="2147483712" r:id="rId13"/>
    <p:sldMasterId id="2147483718" r:id="rId14"/>
    <p:sldMasterId id="2147483734" r:id="rId15"/>
    <p:sldMasterId id="2147483748" r:id="rId16"/>
  </p:sldMasterIdLst>
  <p:notesMasterIdLst>
    <p:notesMasterId r:id="rId25"/>
  </p:notesMasterIdLst>
  <p:handoutMasterIdLst>
    <p:handoutMasterId r:id="rId26"/>
  </p:handoutMasterIdLst>
  <p:sldIdLst>
    <p:sldId id="261" r:id="rId17"/>
    <p:sldId id="312" r:id="rId18"/>
    <p:sldId id="308" r:id="rId19"/>
    <p:sldId id="313" r:id="rId20"/>
    <p:sldId id="301" r:id="rId21"/>
    <p:sldId id="314" r:id="rId22"/>
    <p:sldId id="305" r:id="rId23"/>
    <p:sldId id="306" r:id="rId2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5420" userDrawn="1">
          <p15:clr>
            <a:srgbClr val="A4A3A4"/>
          </p15:clr>
        </p15:guide>
        <p15:guide id="4" pos="340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341">
          <p15:clr>
            <a:srgbClr val="A4A3A4"/>
          </p15:clr>
        </p15:guide>
        <p15:guide id="7" orient="horz" pos="3979">
          <p15:clr>
            <a:srgbClr val="A4A3A4"/>
          </p15:clr>
        </p15:guide>
        <p15:guide id="8" orient="horz" pos="1248">
          <p15:clr>
            <a:srgbClr val="A4A3A4"/>
          </p15:clr>
        </p15:guide>
        <p15:guide id="9" orient="horz" pos="1839">
          <p15:clr>
            <a:srgbClr val="A4A3A4"/>
          </p15:clr>
        </p15:guide>
        <p15:guide id="10" orient="horz" pos="2745">
          <p15:clr>
            <a:srgbClr val="A4A3A4"/>
          </p15:clr>
        </p15:guide>
        <p15:guide id="11" orient="horz" pos="3542">
          <p15:clr>
            <a:srgbClr val="A4A3A4"/>
          </p15:clr>
        </p15:guide>
        <p15:guide id="12" orient="horz" pos="945">
          <p15:clr>
            <a:srgbClr val="A4A3A4"/>
          </p15:clr>
        </p15:guide>
        <p15:guide id="13" orient="horz" pos="870">
          <p15:clr>
            <a:srgbClr val="A4A3A4"/>
          </p15:clr>
        </p15:guide>
        <p15:guide id="14" orient="horz" pos="286">
          <p15:clr>
            <a:srgbClr val="A4A3A4"/>
          </p15:clr>
        </p15:guide>
        <p15:guide id="15" orient="horz" pos="572" userDrawn="1">
          <p15:clr>
            <a:srgbClr val="A4A3A4"/>
          </p15:clr>
        </p15:guide>
        <p15:guide id="16" pos="2959">
          <p15:clr>
            <a:srgbClr val="A4A3A4"/>
          </p15:clr>
        </p15:guide>
        <p15:guide id="17" pos="5421">
          <p15:clr>
            <a:srgbClr val="A4A3A4"/>
          </p15:clr>
        </p15:guide>
        <p15:guide id="18" pos="703">
          <p15:clr>
            <a:srgbClr val="A4A3A4"/>
          </p15:clr>
        </p15:guide>
        <p15:guide id="19" pos="864">
          <p15:clr>
            <a:srgbClr val="A4A3A4"/>
          </p15:clr>
        </p15:guide>
        <p15:guide id="20" pos="1227">
          <p15:clr>
            <a:srgbClr val="A4A3A4"/>
          </p15:clr>
        </p15:guide>
        <p15:guide id="21" pos="1388">
          <p15:clr>
            <a:srgbClr val="A4A3A4"/>
          </p15:clr>
        </p15:guide>
        <p15:guide id="22" pos="1750">
          <p15:clr>
            <a:srgbClr val="A4A3A4"/>
          </p15:clr>
        </p15:guide>
        <p15:guide id="23" pos="1911">
          <p15:clr>
            <a:srgbClr val="A4A3A4"/>
          </p15:clr>
        </p15:guide>
        <p15:guide id="24" pos="2275">
          <p15:clr>
            <a:srgbClr val="A4A3A4"/>
          </p15:clr>
        </p15:guide>
        <p15:guide id="25" pos="2435">
          <p15:clr>
            <a:srgbClr val="A4A3A4"/>
          </p15:clr>
        </p15:guide>
        <p15:guide id="26" pos="2799">
          <p15:clr>
            <a:srgbClr val="A4A3A4"/>
          </p15:clr>
        </p15:guide>
        <p15:guide id="27" pos="3322">
          <p15:clr>
            <a:srgbClr val="A4A3A4"/>
          </p15:clr>
        </p15:guide>
        <p15:guide id="28" pos="3483">
          <p15:clr>
            <a:srgbClr val="A4A3A4"/>
          </p15:clr>
        </p15:guide>
        <p15:guide id="29" pos="3847">
          <p15:clr>
            <a:srgbClr val="A4A3A4"/>
          </p15:clr>
        </p15:guide>
        <p15:guide id="30" pos="4008">
          <p15:clr>
            <a:srgbClr val="A4A3A4"/>
          </p15:clr>
        </p15:guide>
        <p15:guide id="31" pos="4371">
          <p15:clr>
            <a:srgbClr val="A4A3A4"/>
          </p15:clr>
        </p15:guide>
        <p15:guide id="32" pos="4530">
          <p15:clr>
            <a:srgbClr val="A4A3A4"/>
          </p15:clr>
        </p15:guide>
        <p15:guide id="33" pos="4895">
          <p15:clr>
            <a:srgbClr val="A4A3A4"/>
          </p15:clr>
        </p15:guide>
        <p15:guide id="34" pos="505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ta_pravda@outlook.com" initials="n" lastIdx="1" clrIdx="0">
    <p:extLst>
      <p:ext uri="{19B8F6BF-5375-455C-9EA6-DF929625EA0E}">
        <p15:presenceInfo xmlns="" xmlns:p15="http://schemas.microsoft.com/office/powerpoint/2012/main" userId="95f62a9a320a720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9FFCC"/>
    <a:srgbClr val="FFA7A7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34" autoAdjust="0"/>
    <p:restoredTop sz="94694"/>
  </p:normalViewPr>
  <p:slideViewPr>
    <p:cSldViewPr snapToGrid="0">
      <p:cViewPr varScale="1">
        <p:scale>
          <a:sx n="83" d="100"/>
          <a:sy n="83" d="100"/>
        </p:scale>
        <p:origin x="-1498" y="-77"/>
      </p:cViewPr>
      <p:guideLst>
        <p:guide orient="horz" pos="2160"/>
        <p:guide orient="horz" pos="3974"/>
        <p:guide orient="horz" pos="341"/>
        <p:guide orient="horz" pos="3979"/>
        <p:guide orient="horz" pos="1248"/>
        <p:guide orient="horz" pos="1839"/>
        <p:guide orient="horz" pos="2745"/>
        <p:guide orient="horz" pos="3542"/>
        <p:guide orient="horz" pos="945"/>
        <p:guide orient="horz" pos="870"/>
        <p:guide orient="horz" pos="286"/>
        <p:guide orient="horz" pos="572"/>
        <p:guide pos="2880"/>
        <p:guide pos="5420"/>
        <p:guide pos="340"/>
        <p:guide pos="2959"/>
        <p:guide pos="5421"/>
        <p:guide pos="703"/>
        <p:guide pos="864"/>
        <p:guide pos="1227"/>
        <p:guide pos="1388"/>
        <p:guide pos="1750"/>
        <p:guide pos="1911"/>
        <p:guide pos="2275"/>
        <p:guide pos="2435"/>
        <p:guide pos="2799"/>
        <p:guide pos="3322"/>
        <p:guide pos="3483"/>
        <p:guide pos="3847"/>
        <p:guide pos="4008"/>
        <p:guide pos="4371"/>
        <p:guide pos="4530"/>
        <p:guide pos="4895"/>
        <p:guide pos="50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72"/>
      </p:cViewPr>
      <p:guideLst/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8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7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aseline="0" dirty="0" smtClean="0">
                <a:effectLst/>
                <a:latin typeface="Arial" pitchFamily="34" charset="0"/>
                <a:cs typeface="Arial" pitchFamily="34" charset="0"/>
              </a:rPr>
              <a:t>Сокращение времени на формирование отчета </a:t>
            </a:r>
            <a:r>
              <a:rPr lang="en-US" sz="1400" baseline="0" dirty="0" smtClean="0">
                <a:effectLst/>
                <a:latin typeface="Arial" pitchFamily="34" charset="0"/>
                <a:cs typeface="Arial" pitchFamily="34" charset="0"/>
              </a:rPr>
              <a:t>(</a:t>
            </a:r>
            <a:r>
              <a:rPr lang="ru-RU" sz="1400" baseline="0" dirty="0" smtClean="0">
                <a:effectLst/>
                <a:latin typeface="Arial" pitchFamily="34" charset="0"/>
                <a:cs typeface="Arial" pitchFamily="34" charset="0"/>
              </a:rPr>
              <a:t>с учетом работы кондуктора</a:t>
            </a:r>
            <a:r>
              <a:rPr lang="en-US" sz="1400" baseline="0" dirty="0" smtClean="0">
                <a:effectLst/>
                <a:latin typeface="Arial" pitchFamily="34" charset="0"/>
                <a:cs typeface="Arial" pitchFamily="34" charset="0"/>
              </a:rPr>
              <a:t>)</a:t>
            </a:r>
            <a:endParaRPr lang="ru-RU" sz="1100" dirty="0">
              <a:effectLst/>
              <a:latin typeface="Arial" pitchFamily="34" charset="0"/>
              <a:cs typeface="Arial" pitchFamily="34" charset="0"/>
            </a:endParaRPr>
          </a:p>
        </c:rich>
      </c:tx>
      <c:layout>
        <c:manualLayout>
          <c:xMode val="edge"/>
          <c:yMode val="edge"/>
          <c:x val="2.7388182451948455E-2"/>
          <c:y val="2.1182041298309022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евраль, сут.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"/>
                  <c:y val="7.4999999999999886E-2"/>
                </c:manualLayout>
              </c:layout>
              <c:tx>
                <c:rich>
                  <a:bodyPr/>
                  <a:lstStyle/>
                  <a:p>
                    <a:r>
                      <a:rPr lang="ru-RU" sz="1800" b="1" dirty="0" smtClean="0">
                        <a:solidFill>
                          <a:schemeClr val="tx1"/>
                        </a:solidFill>
                      </a:rPr>
                      <a:t>4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B54-434C-9E72-697FA367B92A}"/>
                </c:ext>
              </c:extLst>
            </c:dLbl>
            <c:dLbl>
              <c:idx val="1"/>
              <c:layout>
                <c:manualLayout>
                  <c:x val="2.0833333333333333E-3"/>
                  <c:y val="8.1250000000000003E-2"/>
                </c:manualLayout>
              </c:layout>
              <c:tx>
                <c:rich>
                  <a:bodyPr/>
                  <a:lstStyle/>
                  <a:p>
                    <a:fld id="{CDF4A22B-0DBA-4795-B72B-42C382AC5027}" type="VALUE">
                      <a:rPr lang="en-US" sz="1800" b="1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B54-434C-9E72-697FA367B9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премя ремонта автобусов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B54-434C-9E72-697FA367B92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ай, сут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3.819400322405998E-17"/>
                  <c:y val="8.1249999999999892E-2"/>
                </c:manualLayout>
              </c:layout>
              <c:tx>
                <c:rich>
                  <a:bodyPr/>
                  <a:lstStyle/>
                  <a:p>
                    <a:r>
                      <a:rPr lang="ru-RU" sz="1800" b="1" dirty="0" smtClean="0">
                        <a:solidFill>
                          <a:schemeClr val="tx1"/>
                        </a:solidFill>
                      </a:rPr>
                      <a:t>1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B54-434C-9E72-697FA367B92A}"/>
                </c:ext>
              </c:extLst>
            </c:dLbl>
            <c:dLbl>
              <c:idx val="1"/>
              <c:layout>
                <c:manualLayout>
                  <c:x val="0"/>
                  <c:y val="8.4375000000000006E-2"/>
                </c:manualLayout>
              </c:layout>
              <c:tx>
                <c:rich>
                  <a:bodyPr/>
                  <a:lstStyle/>
                  <a:p>
                    <a:fld id="{1DC5FEE7-C79E-47B1-98ED-4DC60FC78BD9}" type="VALUE">
                      <a:rPr lang="en-US" sz="1800" b="1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B54-434C-9E72-697FA367B9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премя ремонта автобусов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B54-434C-9E72-697FA367B9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73348608"/>
        <c:axId val="73359744"/>
        <c:axId val="0"/>
      </c:bar3DChart>
      <c:catAx>
        <c:axId val="73348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3359744"/>
        <c:crosses val="autoZero"/>
        <c:auto val="1"/>
        <c:lblAlgn val="ctr"/>
        <c:lblOffset val="100"/>
        <c:noMultiLvlLbl val="0"/>
      </c:catAx>
      <c:valAx>
        <c:axId val="7335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34860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baseline="0" dirty="0" smtClean="0">
                <a:effectLst/>
                <a:latin typeface="Arial" pitchFamily="34" charset="0"/>
                <a:cs typeface="Arial" pitchFamily="34" charset="0"/>
              </a:rPr>
              <a:t>Сокращение количества ошибок в формировании отчетов</a:t>
            </a:r>
            <a:endParaRPr lang="ru-RU" sz="1100" dirty="0">
              <a:effectLst/>
              <a:latin typeface="Arial" pitchFamily="34" charset="0"/>
              <a:cs typeface="Arial" pitchFamily="34" charset="0"/>
            </a:endParaRPr>
          </a:p>
        </c:rich>
      </c:tx>
      <c:layout>
        <c:manualLayout>
          <c:xMode val="edge"/>
          <c:yMode val="edge"/>
          <c:x val="0.1203932721005552"/>
          <c:y val="1.8534286136020393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евраль, %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"/>
                  <c:y val="7.4999999999999886E-2"/>
                </c:manualLayout>
              </c:layout>
              <c:tx>
                <c:rich>
                  <a:bodyPr/>
                  <a:lstStyle/>
                  <a:p>
                    <a:r>
                      <a:rPr lang="ru-RU" sz="1800" b="1" dirty="0" smtClean="0">
                        <a:solidFill>
                          <a:schemeClr val="tx1"/>
                        </a:solidFill>
                      </a:rPr>
                      <a:t>80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B54-434C-9E72-697FA367B92A}"/>
                </c:ext>
              </c:extLst>
            </c:dLbl>
            <c:dLbl>
              <c:idx val="1"/>
              <c:layout>
                <c:manualLayout>
                  <c:x val="2.0833333333333333E-3"/>
                  <c:y val="8.1250000000000003E-2"/>
                </c:manualLayout>
              </c:layout>
              <c:tx>
                <c:rich>
                  <a:bodyPr/>
                  <a:lstStyle/>
                  <a:p>
                    <a:fld id="{CDF4A22B-0DBA-4795-B72B-42C382AC5027}" type="VALUE">
                      <a:rPr lang="en-US" sz="1800" b="1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B54-434C-9E72-697FA367B9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премя ремонта автобусов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B54-434C-9E72-697FA367B92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ай, %.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3.819400322405998E-17"/>
                  <c:y val="8.1249999999999892E-2"/>
                </c:manualLayout>
              </c:layout>
              <c:tx>
                <c:rich>
                  <a:bodyPr/>
                  <a:lstStyle/>
                  <a:p>
                    <a:r>
                      <a:rPr lang="ru-RU" sz="1800" b="1" dirty="0" smtClean="0">
                        <a:solidFill>
                          <a:schemeClr val="tx1"/>
                        </a:solidFill>
                      </a:rPr>
                      <a:t>40%</a:t>
                    </a:r>
                    <a:endParaRPr lang="ru-RU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B54-434C-9E72-697FA367B92A}"/>
                </c:ext>
              </c:extLst>
            </c:dLbl>
            <c:dLbl>
              <c:idx val="1"/>
              <c:layout>
                <c:manualLayout>
                  <c:x val="0"/>
                  <c:y val="8.4375000000000006E-2"/>
                </c:manualLayout>
              </c:layout>
              <c:tx>
                <c:rich>
                  <a:bodyPr/>
                  <a:lstStyle/>
                  <a:p>
                    <a:fld id="{1DC5FEE7-C79E-47B1-98ED-4DC60FC78BD9}" type="VALUE">
                      <a:rPr lang="en-US" sz="1800" b="1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B54-434C-9E72-697FA367B9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премя ремонта автобусов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B54-434C-9E72-697FA367B9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3360768"/>
        <c:axId val="72556928"/>
        <c:axId val="0"/>
      </c:bar3DChart>
      <c:catAx>
        <c:axId val="83360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556928"/>
        <c:crosses val="autoZero"/>
        <c:auto val="1"/>
        <c:lblAlgn val="ctr"/>
        <c:lblOffset val="100"/>
        <c:noMultiLvlLbl val="0"/>
      </c:catAx>
      <c:valAx>
        <c:axId val="725569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336076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0D725D-F742-4A6F-ACD8-C7BF259E5F9B}" type="datetimeFigureOut">
              <a:rPr lang="ru-RU" smtClean="0"/>
              <a:pPr/>
              <a:t>08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E9394-ECE8-40A0-AB5C-4D506C3D277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979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734887-B0A5-46AC-92FC-B244B671277D}" type="datetimeFigureOut">
              <a:rPr lang="ru-RU" smtClean="0"/>
              <a:pPr/>
              <a:t>08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73CE2-FAB5-4301-87B4-3C99F17B1C4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547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73CE2-FAB5-4301-87B4-3C99F17B1C4B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1824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4900" y="674688"/>
            <a:ext cx="4600575" cy="3451225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139" y="4354290"/>
            <a:ext cx="5011615" cy="4125935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FB70F-D237-4D5A-9C1F-F9AD59F64171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82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FB70F-D237-4D5A-9C1F-F9AD59F64171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82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FB70F-D237-4D5A-9C1F-F9AD59F6417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776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FB70F-D237-4D5A-9C1F-F9AD59F6417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827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FB70F-D237-4D5A-9C1F-F9AD59F6417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30599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CFB70F-D237-4D5A-9C1F-F9AD59F64171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4651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3970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854145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EC8CAC-A4C1-46D2-824A-DB3AAAD52DF3}" type="slidenum"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70917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1399F5-BADA-4B36-AEBD-BAE89375B9F8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7" name="navigation8" descr="ujkm,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4846090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58511F-4FF0-4561-891C-7BBC67922174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69456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E8DE3E-B843-40C0-893B-3A35DA17BF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30977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BC6261-8784-4175-B0D1-639E4FB629C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46233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C7A086-8207-4EB0-B7D7-B01A4510EC13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0472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41163F-0EDC-4F72-A93E-A2C935F8D5D2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3373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4F25FE-31FB-4D95-9159-CD3AC039AFF6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3283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82C6A24-F428-47B5-8CD5-F95B8372AD94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3146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39750" y="1981199"/>
            <a:ext cx="3903663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200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Рисунок 2"/>
          <p:cNvSpPr>
            <a:spLocks noGrp="1"/>
          </p:cNvSpPr>
          <p:nvPr>
            <p:ph type="pic" idx="10"/>
          </p:nvPr>
        </p:nvSpPr>
        <p:spPr>
          <a:xfrm>
            <a:off x="4697413" y="1981199"/>
            <a:ext cx="3908425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9" y="6170204"/>
            <a:ext cx="47339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8026400" y="6170204"/>
            <a:ext cx="579438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9750" y="541338"/>
            <a:ext cx="5567363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4338952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45C353-A132-4C4E-A23F-5E008E9AB163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08694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5F4C144-FA45-4983-B864-46D2F3CCFECD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4337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968BE43-CDC8-4A1D-9202-20DC25374369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1296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4978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967892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86036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01506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32688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06977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28513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49" y="1981199"/>
            <a:ext cx="3903663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97413" y="1981199"/>
            <a:ext cx="3906837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9750" y="541338"/>
            <a:ext cx="5567363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9" y="6170204"/>
            <a:ext cx="47339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8026400" y="6170204"/>
            <a:ext cx="579438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39749" y="3602256"/>
            <a:ext cx="3903663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697413" y="3602256"/>
            <a:ext cx="3906837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6185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34950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28005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10781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28673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04346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869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407773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713598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79990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06253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4690241"/>
            <a:ext cx="3903664" cy="932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91614" y="4690241"/>
            <a:ext cx="3914224" cy="932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9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981201"/>
            <a:ext cx="3903663" cy="2376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692641" y="1981201"/>
            <a:ext cx="3913198" cy="2376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9750" y="541338"/>
            <a:ext cx="5567363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9" y="6170204"/>
            <a:ext cx="47339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4" name="Номер слайда 3"/>
          <p:cNvSpPr txBox="1">
            <a:spLocks/>
          </p:cNvSpPr>
          <p:nvPr userDrawn="1"/>
        </p:nvSpPr>
        <p:spPr>
          <a:xfrm>
            <a:off x="8026400" y="6170204"/>
            <a:ext cx="579438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149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1727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89332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422025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84932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96773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86334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0348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93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155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49" y="1981200"/>
            <a:ext cx="3903663" cy="36392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9750" y="541338"/>
            <a:ext cx="5567363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49" y="6170204"/>
            <a:ext cx="47339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4" name="Номер слайда 3"/>
          <p:cNvSpPr txBox="1">
            <a:spLocks/>
          </p:cNvSpPr>
          <p:nvPr userDrawn="1"/>
        </p:nvSpPr>
        <p:spPr>
          <a:xfrm>
            <a:off x="8026400" y="6170204"/>
            <a:ext cx="579438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697413" y="1981200"/>
            <a:ext cx="3908425" cy="36392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111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981200"/>
            <a:ext cx="4733926" cy="19995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lang="en-US" sz="4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6088743"/>
            <a:ext cx="4733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4820307"/>
            <a:ext cx="4733925" cy="126412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Основная информация</a:t>
            </a: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357688"/>
            <a:ext cx="4733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4585608"/>
            <a:ext cx="4733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3682483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0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ast Modified 12.30.2014 4:54 PM Russia TZ 2 Standard Time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6" y="668956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12.5.2014 2:43 AM Russia TZ 2 Standard Time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18" y="5030928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18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8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0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18" y="2119328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121402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8592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6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8727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‹#›</a:t>
            </a:r>
          </a:p>
          <a:p>
            <a:pPr marL="0" marR="0" lvl="0" indent="0" algn="r" defTabSz="8727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8087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1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233" y="454025"/>
            <a:ext cx="2717140" cy="1008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0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9C25FF4-21E9-41B0-81DE-DEE261383BF1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36802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7" r:id="rId12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9C25FF4-21E9-41B0-81DE-DEE261383BF1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3433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</p:sldLayoutIdLst>
  <p:transition/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517841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96941" y="408156"/>
            <a:ext cx="1406800" cy="5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3114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96941" y="408156"/>
            <a:ext cx="1406800" cy="5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37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96941" y="408156"/>
            <a:ext cx="1406800" cy="5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383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396941" y="408156"/>
            <a:ext cx="1406800" cy="52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71719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7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2723" y="1980946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ast Modified 12.30.2014 4:54 PM Russia TZ 2 Standard Time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6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12.5.2014 2:43 AM Russia TZ 2 Standard Time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5214" algn="l"/>
              </a:tabLst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96" tIns="93296" rIns="93296" bIns="93296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96" tIns="93296" rIns="93296" bIns="93296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951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0697D5-9D7A-4F1D-87E5-2C916FF3A401}" type="datetimeFigureOut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6.2021</a:t>
            </a:fld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9C25FF4-21E9-41B0-81DE-DEE261383BF1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51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1" r:id="rId1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6" Type="http://schemas.openxmlformats.org/officeDocument/2006/relationships/chart" Target="../charts/chart2.xml"/><Relationship Id="rId5" Type="http://schemas.openxmlformats.org/officeDocument/2006/relationships/image" Target="../media/image22.png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2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E2D30690-54B5-443D-ABD0-48403D7CE591}"/>
              </a:ext>
            </a:extLst>
          </p:cNvPr>
          <p:cNvSpPr/>
          <p:nvPr/>
        </p:nvSpPr>
        <p:spPr>
          <a:xfrm>
            <a:off x="0" y="5760640"/>
            <a:ext cx="9144000" cy="11247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947A2ABC-B565-425E-BA8D-2C61107C47A9}"/>
              </a:ext>
            </a:extLst>
          </p:cNvPr>
          <p:cNvSpPr/>
          <p:nvPr/>
        </p:nvSpPr>
        <p:spPr>
          <a:xfrm>
            <a:off x="53068" y="13504"/>
            <a:ext cx="5425168" cy="67587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EFDD3693-D23E-433A-B70B-1B4B2792D1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08" y="164874"/>
            <a:ext cx="960587" cy="960587"/>
          </a:xfrm>
          <a:prstGeom prst="rect">
            <a:avLst/>
          </a:prstGeom>
        </p:spPr>
      </p:pic>
      <p:sp>
        <p:nvSpPr>
          <p:cNvPr id="27" name="TextBox 65">
            <a:extLst>
              <a:ext uri="{FF2B5EF4-FFF2-40B4-BE49-F238E27FC236}">
                <a16:creationId xmlns="" xmlns:a16="http://schemas.microsoft.com/office/drawing/2014/main" id="{CAAE3063-DEC9-4F3C-9A11-A298FFCD6E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005" y="2951311"/>
            <a:ext cx="7341990" cy="310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800" b="0" u="none" kern="0" dirty="0">
                <a:solidFill>
                  <a:srgbClr val="3E87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й регион</a:t>
            </a:r>
          </a:p>
          <a:p>
            <a:pPr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2400" u="none" kern="0" dirty="0">
              <a:solidFill>
                <a:srgbClr val="3E87B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u="none" kern="0" dirty="0" smtClean="0">
                <a:solidFill>
                  <a:srgbClr val="3E87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П «Транспортные линии»</a:t>
            </a:r>
          </a:p>
          <a:p>
            <a:pPr lvl="0"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u="none" kern="0" dirty="0" smtClean="0">
                <a:solidFill>
                  <a:srgbClr val="3E87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400" u="none" kern="0" dirty="0">
                <a:solidFill>
                  <a:srgbClr val="3E87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</a:p>
          <a:p>
            <a:pPr lvl="0"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400" u="none" kern="0" dirty="0">
                <a:solidFill>
                  <a:srgbClr val="3E87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птимизация формирования и выгрузки отчета системы  АСКОП»</a:t>
            </a:r>
          </a:p>
          <a:p>
            <a:pPr algn="ctr" defTabSz="93286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 u="none" kern="0" dirty="0">
              <a:solidFill>
                <a:srgbClr val="3E87B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214" y="374904"/>
            <a:ext cx="1938337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769" y="5760640"/>
            <a:ext cx="2008503" cy="1009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17842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0945" y="0"/>
            <a:ext cx="1043608" cy="880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0467" y="1301861"/>
            <a:ext cx="4145575" cy="20905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300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88922" y="3810000"/>
            <a:ext cx="4140202" cy="24079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34193" y="1301861"/>
            <a:ext cx="4293160" cy="20899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endParaRPr lang="ru-RU" sz="1000" dirty="0" smtClean="0">
              <a:solidFill>
                <a:srgbClr val="414142">
                  <a:lumMod val="50000"/>
                </a:srgbClr>
              </a:solidFill>
            </a:endParaRPr>
          </a:p>
          <a:p>
            <a:pPr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endParaRPr lang="ru-RU" sz="1000" dirty="0">
              <a:solidFill>
                <a:srgbClr val="414142">
                  <a:lumMod val="50000"/>
                </a:srgbClr>
              </a:solidFill>
            </a:endParaRPr>
          </a:p>
          <a:p>
            <a:pPr marL="228600" indent="-228600" eaLnBrk="0" fontAlgn="base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Ежедневное </a:t>
            </a:r>
            <a:r>
              <a:rPr lang="ru-RU" sz="1100" dirty="0">
                <a:solidFill>
                  <a:srgbClr val="414142">
                    <a:lumMod val="50000"/>
                  </a:srgbClr>
                </a:solidFill>
              </a:rPr>
              <a:t>исправление ошибок и формирование отчета вручную в ГУП «ИЦ Регион-Курск».</a:t>
            </a:r>
          </a:p>
          <a:p>
            <a:pPr marL="228600" indent="-228600" eaLnBrk="0" fontAlgn="base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Низкая </a:t>
            </a:r>
            <a:r>
              <a:rPr lang="ru-RU" sz="1100" dirty="0">
                <a:solidFill>
                  <a:srgbClr val="414142">
                    <a:lumMod val="50000"/>
                  </a:srgbClr>
                </a:solidFill>
              </a:rPr>
              <a:t>выручка.</a:t>
            </a:r>
          </a:p>
          <a:p>
            <a:pPr marL="228600" indent="-228600" eaLnBrk="0" fontAlgn="base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Необходимость </a:t>
            </a:r>
            <a:r>
              <a:rPr lang="ru-RU" sz="1100" dirty="0">
                <a:solidFill>
                  <a:srgbClr val="414142">
                    <a:lumMod val="50000"/>
                  </a:srgbClr>
                </a:solidFill>
              </a:rPr>
              <a:t>перехода на АСКОП (автоматизированная система контроля оплаты проезда).</a:t>
            </a:r>
          </a:p>
          <a:p>
            <a:pPr algn="ctr"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sz="1100" b="1" u="sng" dirty="0" smtClean="0">
                <a:solidFill>
                  <a:srgbClr val="414142">
                    <a:lumMod val="50000"/>
                  </a:srgbClr>
                </a:solidFill>
              </a:rPr>
              <a:t>Риски</a:t>
            </a:r>
            <a:r>
              <a:rPr lang="ru-RU" sz="1100" b="1" u="sng" dirty="0">
                <a:solidFill>
                  <a:srgbClr val="414142">
                    <a:lumMod val="50000"/>
                  </a:srgbClr>
                </a:solidFill>
              </a:rPr>
              <a:t>:</a:t>
            </a:r>
          </a:p>
          <a:p>
            <a:pPr marL="228600" indent="-228600" eaLnBrk="0" fontAlgn="base" hangingPunct="0">
              <a:spcBef>
                <a:spcPct val="40000"/>
              </a:spcBef>
              <a:spcAft>
                <a:spcPct val="2000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Несоблюдения </a:t>
            </a:r>
            <a:r>
              <a:rPr lang="ru-RU" sz="1100" dirty="0">
                <a:solidFill>
                  <a:srgbClr val="414142">
                    <a:lumMod val="50000"/>
                  </a:srgbClr>
                </a:solidFill>
              </a:rPr>
              <a:t>налогового законодательства РФ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 smtClean="0">
              <a:solidFill>
                <a:srgbClr val="003274">
                  <a:lumMod val="75000"/>
                </a:srgbClr>
              </a:solidFill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050" dirty="0" smtClean="0">
              <a:solidFill>
                <a:srgbClr val="003274">
                  <a:lumMod val="75000"/>
                </a:srgbClr>
              </a:solidFill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050" dirty="0" smtClean="0">
              <a:solidFill>
                <a:srgbClr val="003274">
                  <a:lumMod val="75000"/>
                </a:srgb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548343" y="3816949"/>
            <a:ext cx="4286280" cy="24009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3274">
                  <a:lumMod val="75000"/>
                </a:srgbClr>
              </a:solidFill>
            </a:endParaRPr>
          </a:p>
        </p:txBody>
      </p:sp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>
          <a:xfrm>
            <a:off x="1116755" y="32628"/>
            <a:ext cx="6983637" cy="83185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СР-проект «Оптимизация формирования и выгрузки отчет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истемы  АСКОП» в МУП «Транспортные линии»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86595" y="3830851"/>
            <a:ext cx="42338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u="none" dirty="0">
                <a:solidFill>
                  <a:srgbClr val="4596D1">
                    <a:lumMod val="75000"/>
                  </a:srgbClr>
                </a:solidFill>
              </a:rPr>
              <a:t>4</a:t>
            </a:r>
            <a:r>
              <a:rPr lang="ru-RU" sz="1100" u="none" dirty="0">
                <a:solidFill>
                  <a:srgbClr val="4596D1">
                    <a:lumMod val="75000"/>
                  </a:srgbClr>
                </a:solidFill>
              </a:rPr>
              <a:t>. </a:t>
            </a:r>
            <a:r>
              <a:rPr lang="ru-RU" sz="1100" dirty="0">
                <a:solidFill>
                  <a:srgbClr val="4596D1">
                    <a:lumMod val="75000"/>
                  </a:srgbClr>
                </a:solidFill>
              </a:rPr>
              <a:t>Ключевые </a:t>
            </a:r>
            <a:r>
              <a:rPr lang="ru-RU" sz="1100" dirty="0" smtClean="0">
                <a:solidFill>
                  <a:srgbClr val="4596D1">
                    <a:lumMod val="75000"/>
                  </a:srgbClr>
                </a:solidFill>
              </a:rPr>
              <a:t>события (КС)** </a:t>
            </a:r>
            <a:endParaRPr lang="ru-RU" sz="1100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82164" y="3830851"/>
            <a:ext cx="42338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4596D1">
                    <a:lumMod val="75000"/>
                  </a:srgbClr>
                </a:solidFill>
              </a:rPr>
              <a:t>3</a:t>
            </a:r>
            <a:r>
              <a:rPr lang="ru-RU" sz="1100" dirty="0">
                <a:solidFill>
                  <a:srgbClr val="4596D1">
                    <a:lumMod val="75000"/>
                  </a:srgbClr>
                </a:solidFill>
              </a:rPr>
              <a:t>. </a:t>
            </a:r>
            <a:r>
              <a:rPr lang="ru-RU" sz="1100" u="sng" dirty="0">
                <a:solidFill>
                  <a:srgbClr val="4596D1">
                    <a:lumMod val="75000"/>
                  </a:srgbClr>
                </a:solidFill>
              </a:rPr>
              <a:t>Цели и плановый эффект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74769" y="1268760"/>
            <a:ext cx="42116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u="none" dirty="0">
                <a:solidFill>
                  <a:srgbClr val="4596D1">
                    <a:lumMod val="75000"/>
                  </a:srgbClr>
                </a:solidFill>
              </a:rPr>
              <a:t>2</a:t>
            </a:r>
            <a:r>
              <a:rPr lang="ru-RU" sz="1100" u="none" dirty="0">
                <a:solidFill>
                  <a:srgbClr val="4596D1">
                    <a:lumMod val="75000"/>
                  </a:srgbClr>
                </a:solidFill>
              </a:rPr>
              <a:t>. </a:t>
            </a:r>
            <a:r>
              <a:rPr lang="ru-RU" sz="1100" dirty="0">
                <a:solidFill>
                  <a:srgbClr val="4596D1">
                    <a:lumMod val="75000"/>
                  </a:srgbClr>
                </a:solidFill>
              </a:rPr>
              <a:t>Обоснование выбора</a:t>
            </a:r>
          </a:p>
        </p:txBody>
      </p:sp>
      <p:sp>
        <p:nvSpPr>
          <p:cNvPr id="26" name="TextBox 65"/>
          <p:cNvSpPr txBox="1">
            <a:spLocks noChangeArrowheads="1"/>
          </p:cNvSpPr>
          <p:nvPr/>
        </p:nvSpPr>
        <p:spPr bwMode="auto">
          <a:xfrm>
            <a:off x="310117" y="1587655"/>
            <a:ext cx="4189875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 smtClean="0">
                <a:solidFill>
                  <a:srgbClr val="4596D1">
                    <a:lumMod val="75000"/>
                  </a:srgbClr>
                </a:solidFill>
              </a:rPr>
              <a:t>Заказчик</a:t>
            </a:r>
            <a:r>
              <a:rPr lang="en-US" altLang="ru-RU" sz="1100" dirty="0" smtClean="0">
                <a:solidFill>
                  <a:srgbClr val="4596D1">
                    <a:lumMod val="75000"/>
                  </a:srgbClr>
                </a:solidFill>
              </a:rPr>
              <a:t> </a:t>
            </a:r>
            <a:r>
              <a:rPr lang="ru-RU" altLang="ru-RU" sz="1100" dirty="0" smtClean="0">
                <a:solidFill>
                  <a:srgbClr val="4596D1">
                    <a:lumMod val="75000"/>
                  </a:srgbClr>
                </a:solidFill>
              </a:rPr>
              <a:t>проекта</a:t>
            </a:r>
            <a:r>
              <a:rPr lang="en-US" altLang="ru-RU" sz="1100" dirty="0">
                <a:solidFill>
                  <a:srgbClr val="4596D1">
                    <a:lumMod val="75000"/>
                  </a:srgbClr>
                </a:solidFill>
              </a:rPr>
              <a:t>: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  директор МУП  «Транспортные линия»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100" b="0" u="none" dirty="0" err="1" smtClean="0">
                <a:solidFill>
                  <a:srgbClr val="414142"/>
                </a:solidFill>
              </a:rPr>
              <a:t>Оголяр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 Д.С.</a:t>
            </a:r>
            <a:endParaRPr lang="ru-RU" altLang="ru-RU" sz="1100" b="0" u="none" dirty="0">
              <a:solidFill>
                <a:srgbClr val="414142"/>
              </a:solidFill>
            </a:endParaRPr>
          </a:p>
        </p:txBody>
      </p:sp>
      <p:sp>
        <p:nvSpPr>
          <p:cNvPr id="27" name="TextBox 65"/>
          <p:cNvSpPr txBox="1">
            <a:spLocks noChangeArrowheads="1"/>
          </p:cNvSpPr>
          <p:nvPr/>
        </p:nvSpPr>
        <p:spPr bwMode="auto">
          <a:xfrm>
            <a:off x="288922" y="2960939"/>
            <a:ext cx="4189875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>
                <a:solidFill>
                  <a:srgbClr val="4596D1">
                    <a:lumMod val="75000"/>
                  </a:srgbClr>
                </a:solidFill>
              </a:rPr>
              <a:t>Команда </a:t>
            </a:r>
            <a:r>
              <a:rPr lang="ru-RU" altLang="ru-RU" sz="1100" dirty="0" smtClean="0">
                <a:solidFill>
                  <a:srgbClr val="4596D1">
                    <a:lumMod val="75000"/>
                  </a:srgbClr>
                </a:solidFill>
              </a:rPr>
              <a:t>проекта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: </a:t>
            </a:r>
            <a:r>
              <a:rPr lang="ru-RU" altLang="ru-RU" sz="1100" b="0" u="none" dirty="0" err="1" smtClean="0">
                <a:solidFill>
                  <a:srgbClr val="414142"/>
                </a:solidFill>
              </a:rPr>
              <a:t>Вайгант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 О.А., </a:t>
            </a:r>
            <a:r>
              <a:rPr lang="ru-RU" altLang="ru-RU" sz="1100" b="0" u="none" dirty="0" err="1" smtClean="0">
                <a:solidFill>
                  <a:srgbClr val="414142"/>
                </a:solidFill>
              </a:rPr>
              <a:t>Скрипина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 С.В., Ракитин А.Е.</a:t>
            </a:r>
            <a:endParaRPr lang="ru-RU" altLang="ru-RU" sz="1100" b="0" u="none" dirty="0">
              <a:solidFill>
                <a:srgbClr val="414142"/>
              </a:solidFill>
            </a:endParaRPr>
          </a:p>
        </p:txBody>
      </p:sp>
      <p:sp>
        <p:nvSpPr>
          <p:cNvPr id="31" name="TextBox 65"/>
          <p:cNvSpPr txBox="1">
            <a:spLocks noChangeArrowheads="1"/>
          </p:cNvSpPr>
          <p:nvPr/>
        </p:nvSpPr>
        <p:spPr bwMode="auto">
          <a:xfrm>
            <a:off x="280717" y="2008527"/>
            <a:ext cx="4203173" cy="26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>
                <a:solidFill>
                  <a:srgbClr val="4596D1">
                    <a:lumMod val="75000"/>
                  </a:srgbClr>
                </a:solidFill>
              </a:rPr>
              <a:t>Периметр проекта</a:t>
            </a:r>
            <a:r>
              <a:rPr lang="en-US" altLang="ru-RU" sz="1100" dirty="0">
                <a:solidFill>
                  <a:srgbClr val="4596D1">
                    <a:lumMod val="75000"/>
                  </a:srgbClr>
                </a:solidFill>
              </a:rPr>
              <a:t>:</a:t>
            </a:r>
            <a:r>
              <a:rPr lang="ru-RU" altLang="ru-RU" sz="1100" dirty="0">
                <a:solidFill>
                  <a:srgbClr val="4596D1">
                    <a:lumMod val="75000"/>
                  </a:srgbClr>
                </a:solidFill>
              </a:rPr>
              <a:t> 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МУП «Транспортные линии»</a:t>
            </a:r>
            <a:endParaRPr lang="ru-RU" altLang="ru-RU" sz="1100" b="0" u="none" kern="0" dirty="0">
              <a:solidFill>
                <a:srgbClr val="41414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97163" y="1268760"/>
            <a:ext cx="42116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u="none" dirty="0">
                <a:solidFill>
                  <a:srgbClr val="4596D1">
                    <a:lumMod val="75000"/>
                  </a:srgbClr>
                </a:solidFill>
              </a:rPr>
              <a:t>1. </a:t>
            </a:r>
            <a:r>
              <a:rPr lang="ru-RU" sz="1100" dirty="0">
                <a:solidFill>
                  <a:srgbClr val="4596D1">
                    <a:lumMod val="75000"/>
                  </a:srgbClr>
                </a:solidFill>
              </a:rPr>
              <a:t>Вовлеченные лица и рамки проект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3395" y="2266648"/>
            <a:ext cx="42165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100" b="1" u="sng" dirty="0">
                <a:solidFill>
                  <a:srgbClr val="4596D1">
                    <a:lumMod val="75000"/>
                  </a:srgbClr>
                </a:solidFill>
              </a:rPr>
              <a:t>Границы проекта</a:t>
            </a:r>
            <a:r>
              <a:rPr lang="en-US" altLang="ru-RU" sz="1100" b="1" u="sng" dirty="0" smtClean="0">
                <a:solidFill>
                  <a:srgbClr val="4596D1">
                    <a:lumMod val="75000"/>
                  </a:srgbClr>
                </a:solidFill>
              </a:rPr>
              <a:t>:</a:t>
            </a:r>
            <a:r>
              <a:rPr lang="ru-RU" altLang="ru-RU" sz="1100" dirty="0">
                <a:solidFill>
                  <a:srgbClr val="4596D1">
                    <a:lumMod val="75000"/>
                  </a:srgbClr>
                </a:solidFill>
              </a:rPr>
              <a:t> </a:t>
            </a:r>
            <a:r>
              <a:rPr lang="ru-RU" altLang="ru-RU" sz="1100" dirty="0" smtClean="0">
                <a:solidFill>
                  <a:srgbClr val="414142"/>
                </a:solidFill>
              </a:rPr>
              <a:t>открытие смены – формирование отчета</a:t>
            </a:r>
            <a:endParaRPr lang="en-US" altLang="ru-RU" sz="1100" kern="0" dirty="0">
              <a:solidFill>
                <a:srgbClr val="414142"/>
              </a:solidFill>
            </a:endParaRPr>
          </a:p>
        </p:txBody>
      </p:sp>
      <p:sp>
        <p:nvSpPr>
          <p:cNvPr id="30" name="TextBox 65"/>
          <p:cNvSpPr txBox="1">
            <a:spLocks noChangeArrowheads="1"/>
          </p:cNvSpPr>
          <p:nvPr/>
        </p:nvSpPr>
        <p:spPr bwMode="auto">
          <a:xfrm>
            <a:off x="270467" y="2528335"/>
            <a:ext cx="4200495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defTabSz="89601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0" dirty="0" smtClean="0">
                <a:solidFill>
                  <a:srgbClr val="4596D1">
                    <a:lumMod val="75000"/>
                  </a:srgbClr>
                </a:solidFill>
              </a:rPr>
              <a:t>Руководитель ПСР-проекта</a:t>
            </a:r>
            <a:r>
              <a:rPr lang="en-US" altLang="ru-RU" sz="1100" b="0" u="none" dirty="0" smtClean="0">
                <a:solidFill>
                  <a:srgbClr val="414142"/>
                </a:solidFill>
              </a:rPr>
              <a:t>:</a:t>
            </a:r>
            <a:r>
              <a:rPr lang="ru-RU" altLang="ru-RU" sz="1100" b="0" u="none" dirty="0" smtClean="0">
                <a:solidFill>
                  <a:srgbClr val="414142"/>
                </a:solidFill>
              </a:rPr>
              <a:t> </a:t>
            </a:r>
            <a:r>
              <a:rPr lang="ru-RU" altLang="ru-RU" sz="1100" b="0" u="none" dirty="0">
                <a:solidFill>
                  <a:srgbClr val="414142"/>
                </a:solidFill>
              </a:rPr>
              <a:t>з</a:t>
            </a:r>
            <a:r>
              <a:rPr lang="ru-RU" sz="1100" b="0" u="none" dirty="0">
                <a:solidFill>
                  <a:srgbClr val="414142"/>
                </a:solidFill>
              </a:rPr>
              <a:t>аместитель директора по </a:t>
            </a:r>
            <a:r>
              <a:rPr lang="ru-RU" sz="1100" b="0" u="none" dirty="0" smtClean="0">
                <a:solidFill>
                  <a:srgbClr val="414142"/>
                </a:solidFill>
              </a:rPr>
              <a:t>пассажирским перевозкам Холопов В.А.</a:t>
            </a:r>
            <a:endParaRPr lang="ru-RU" sz="1100" b="0" u="none" dirty="0">
              <a:solidFill>
                <a:srgbClr val="414142"/>
              </a:solidFill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3996147"/>
              </p:ext>
            </p:extLst>
          </p:nvPr>
        </p:nvGraphicFramePr>
        <p:xfrm>
          <a:off x="307308" y="4077072"/>
          <a:ext cx="4118694" cy="1645285"/>
        </p:xfrm>
        <a:graphic>
          <a:graphicData uri="http://schemas.openxmlformats.org/drawingml/2006/table">
            <a:tbl>
              <a:tblPr firstRow="1" bandRow="1"/>
              <a:tblGrid>
                <a:gridCol w="2106708">
                  <a:extLst>
                    <a:ext uri="{9D8B030D-6E8A-4147-A177-3AD203B41FA5}">
                      <a16:colId xmlns:a16="http://schemas.microsoft.com/office/drawing/2014/main" xmlns="" val="2583204338"/>
                    </a:ext>
                  </a:extLst>
                </a:gridCol>
                <a:gridCol w="1014984">
                  <a:extLst>
                    <a:ext uri="{9D8B030D-6E8A-4147-A177-3AD203B41FA5}">
                      <a16:colId xmlns:a16="http://schemas.microsoft.com/office/drawing/2014/main" xmlns="" val="29635232"/>
                    </a:ext>
                  </a:extLst>
                </a:gridCol>
                <a:gridCol w="997002">
                  <a:extLst>
                    <a:ext uri="{9D8B030D-6E8A-4147-A177-3AD203B41FA5}">
                      <a16:colId xmlns:a16="http://schemas.microsoft.com/office/drawing/2014/main" xmlns="" val="3384265906"/>
                    </a:ext>
                  </a:extLst>
                </a:gridCol>
              </a:tblGrid>
              <a:tr h="2524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  <a:r>
                        <a:rPr lang="ru-RU" sz="1100" b="1" u="non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ли</a:t>
                      </a:r>
                      <a:endParaRPr lang="ru-RU" sz="11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кущий показатель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Целевой показатель</a:t>
                      </a: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21752678"/>
                  </a:ext>
                </a:extLst>
              </a:tr>
              <a:tr h="152836"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времени на формирование отчета </a:t>
                      </a:r>
                      <a:r>
                        <a:rPr lang="en-US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 учетом работы кондуктора</a:t>
                      </a:r>
                      <a:r>
                        <a:rPr lang="en-US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1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100" kern="1200" baseline="0" dirty="0" smtClean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6 ч.40 мин. (≈4 </a:t>
                      </a:r>
                      <a:r>
                        <a:rPr lang="ru-RU" sz="1100" kern="1200" baseline="0" dirty="0" err="1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ут</a:t>
                      </a:r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).</a:t>
                      </a:r>
                    </a:p>
                    <a:p>
                      <a:pPr algn="l"/>
                      <a:endParaRPr lang="ru-RU" sz="11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ч.30 мин</a:t>
                      </a:r>
                      <a:r>
                        <a:rPr lang="en-US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 (&lt;1 </a:t>
                      </a:r>
                      <a:r>
                        <a:rPr lang="ru-RU" sz="1100" kern="1200" baseline="0" dirty="0" err="1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ут</a:t>
                      </a:r>
                      <a:r>
                        <a:rPr lang="en-US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ru-RU" sz="11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35180504"/>
                  </a:ext>
                </a:extLst>
              </a:tr>
              <a:tr h="152836"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ключение ошибок при формировании отчетов</a:t>
                      </a:r>
                      <a:endParaRPr lang="ru-RU" sz="11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жедневно</a:t>
                      </a:r>
                      <a:endParaRPr lang="ru-RU" sz="11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тсутствие ошибок</a:t>
                      </a:r>
                      <a:endParaRPr lang="ru-RU" sz="11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15628" name="Picture 268" descr="Герб Курской области — Википедия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164" y="37793"/>
            <a:ext cx="755576" cy="7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14"/>
          <p:cNvSpPr txBox="1">
            <a:spLocks noChangeArrowheads="1"/>
          </p:cNvSpPr>
          <p:nvPr/>
        </p:nvSpPr>
        <p:spPr bwMode="auto">
          <a:xfrm>
            <a:off x="4586594" y="4269096"/>
            <a:ext cx="4178089" cy="1649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0" fontAlgn="base" hangingPunct="0">
              <a:buFont typeface="+mj-lt"/>
              <a:buAutoNum type="arabicPeriod"/>
              <a:tabLst>
                <a:tab pos="3952875" algn="r"/>
              </a:tabLst>
            </a:pP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Старт проекта	25.01.2021</a:t>
            </a:r>
          </a:p>
          <a:p>
            <a:pPr marL="228600" indent="-228600" eaLnBrk="0" fontAlgn="base" hangingPunct="0">
              <a:buFont typeface="+mj-lt"/>
              <a:buAutoNum type="arabicPeriod"/>
              <a:tabLst>
                <a:tab pos="3952875" algn="r"/>
              </a:tabLst>
            </a:pP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Картирование текущего </a:t>
            </a:r>
            <a:r>
              <a:rPr lang="ru-RU" sz="1100" dirty="0">
                <a:solidFill>
                  <a:srgbClr val="414142">
                    <a:lumMod val="50000"/>
                  </a:srgbClr>
                </a:solidFill>
              </a:rPr>
              <a:t>состояния </a:t>
            </a:r>
            <a:r>
              <a:rPr lang="ru-RU" sz="1100" dirty="0" smtClean="0">
                <a:solidFill>
                  <a:srgbClr val="414142">
                    <a:lumMod val="50000"/>
                  </a:srgbClr>
                </a:solidFill>
              </a:rPr>
              <a:t>процессов</a:t>
            </a: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: 	17.02.2021</a:t>
            </a:r>
            <a:endParaRPr lang="ru-RU" altLang="ru-RU" sz="1100" dirty="0">
              <a:solidFill>
                <a:srgbClr val="414142">
                  <a:lumMod val="50000"/>
                </a:srgbClr>
              </a:solidFill>
            </a:endParaRPr>
          </a:p>
          <a:p>
            <a:pPr marL="207963" indent="-207963"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3.    Разработка целевого состояния и плана </a:t>
            </a:r>
            <a:b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</a:b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мероприятий:	</a:t>
            </a:r>
            <a:r>
              <a:rPr lang="ru-RU" altLang="ru-RU" sz="1100" dirty="0">
                <a:solidFill>
                  <a:srgbClr val="414142">
                    <a:lumMod val="50000"/>
                  </a:srgbClr>
                </a:solidFill>
              </a:rPr>
              <a:t> </a:t>
            </a: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17.03.2021 </a:t>
            </a:r>
          </a:p>
          <a:p>
            <a:pPr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4.   Проведение </a:t>
            </a:r>
            <a:r>
              <a:rPr lang="en-US" altLang="ru-RU" sz="1100" dirty="0" smtClean="0">
                <a:solidFill>
                  <a:srgbClr val="414142">
                    <a:lumMod val="50000"/>
                  </a:srgbClr>
                </a:solidFill>
              </a:rPr>
              <a:t>Kick-off</a:t>
            </a: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	18.03.2021</a:t>
            </a:r>
          </a:p>
          <a:p>
            <a:pPr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5.   Реализация </a:t>
            </a:r>
            <a:r>
              <a:rPr lang="ru-RU" altLang="ru-RU" sz="1100" dirty="0">
                <a:solidFill>
                  <a:srgbClr val="414142">
                    <a:lumMod val="50000"/>
                  </a:srgbClr>
                </a:solidFill>
              </a:rPr>
              <a:t>мероприятий проекта: </a:t>
            </a: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	</a:t>
            </a:r>
            <a:r>
              <a:rPr lang="ru-RU" altLang="ru-RU" sz="1100" dirty="0">
                <a:solidFill>
                  <a:srgbClr val="414142">
                    <a:lumMod val="50000"/>
                  </a:srgbClr>
                </a:solidFill>
              </a:rPr>
              <a:t> </a:t>
            </a: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14.06.2021</a:t>
            </a:r>
          </a:p>
          <a:p>
            <a:pPr eaLnBrk="0" fontAlgn="base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6.   Закрепление результатов и закрытие проекта </a:t>
            </a:r>
            <a:r>
              <a:rPr lang="en-US" altLang="ru-RU" sz="1100" dirty="0" smtClean="0">
                <a:solidFill>
                  <a:srgbClr val="414142">
                    <a:lumMod val="50000"/>
                  </a:srgbClr>
                </a:solidFill>
              </a:rPr>
              <a:t>	</a:t>
            </a:r>
            <a:r>
              <a:rPr lang="ru-RU" altLang="ru-RU" sz="1100" dirty="0" smtClean="0">
                <a:solidFill>
                  <a:srgbClr val="414142">
                    <a:lumMod val="50000"/>
                  </a:srgbClr>
                </a:solidFill>
              </a:rPr>
              <a:t>01.07.2021</a:t>
            </a:r>
            <a:endParaRPr lang="ru-RU" altLang="ru-RU" sz="1100" dirty="0">
              <a:solidFill>
                <a:srgbClr val="41414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9168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8976" y="182139"/>
            <a:ext cx="7158720" cy="615553"/>
          </a:xfrm>
        </p:spPr>
        <p:txBody>
          <a:bodyPr/>
          <a:lstStyle/>
          <a:p>
            <a:pPr lvl="0" defTabSz="913526" fontAlgn="base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формирования и выгрузки отчета системы  АСКО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45" name="Picture 280" descr="Росатом — Википедия">
            <a:extLst>
              <a:ext uri="{FF2B5EF4-FFF2-40B4-BE49-F238E27FC236}">
                <a16:creationId xmlns="" xmlns:a16="http://schemas.microsoft.com/office/drawing/2014/main" id="{F763E6C8-9ABC-47E6-81A6-5182214A95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2489" y="99391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95B31BA9-2FD6-4354-B54D-95C71D4464BA}"/>
              </a:ext>
            </a:extLst>
          </p:cNvPr>
          <p:cNvCxnSpPr/>
          <p:nvPr/>
        </p:nvCxnSpPr>
        <p:spPr>
          <a:xfrm>
            <a:off x="494039" y="782720"/>
            <a:ext cx="81435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13" y="245695"/>
            <a:ext cx="155416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37706" y="1840752"/>
            <a:ext cx="879764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крытие смены</a:t>
            </a:r>
            <a:endParaRPr lang="ru-RU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6"/>
          <p:cNvSpPr txBox="1"/>
          <p:nvPr/>
        </p:nvSpPr>
        <p:spPr>
          <a:xfrm>
            <a:off x="537705" y="14098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 мин</a:t>
            </a:r>
            <a:endParaRPr lang="ru-RU" sz="105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799578" y="1840752"/>
            <a:ext cx="961910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ерка  и передача терминала АСКОП кондуктору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1417470" y="2446073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6"/>
          <p:cNvSpPr txBox="1"/>
          <p:nvPr/>
        </p:nvSpPr>
        <p:spPr>
          <a:xfrm>
            <a:off x="1799578" y="14098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 мин</a:t>
            </a:r>
            <a:endParaRPr lang="ru-RU" sz="105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134602" y="1840752"/>
            <a:ext cx="961910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Открытие маршрута на терминале АСКОП </a:t>
            </a:r>
            <a:endParaRPr lang="en-US" sz="110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>
            <a:off x="2761488" y="2429891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1069006" y="1331367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TextBox 19">
            <a:extLst>
              <a:ext uri="{FF2B5EF4-FFF2-40B4-BE49-F238E27FC236}">
                <a16:creationId xmlns:lc="http://schemas.openxmlformats.org/drawingml/2006/lockedCanvas" xmlns:a16="http://schemas.microsoft.com/office/drawing/2014/main" xmlns="" id="{2C36ACC6-923C-4472-9CD5-C713590C8683}"/>
              </a:ext>
            </a:extLst>
          </p:cNvPr>
          <p:cNvSpPr txBox="1"/>
          <p:nvPr/>
        </p:nvSpPr>
        <p:spPr>
          <a:xfrm>
            <a:off x="734648" y="858365"/>
            <a:ext cx="8071738" cy="3416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ходное состояние проекта</a:t>
            </a:r>
            <a:endParaRPr lang="ru-RU" sz="1400" dirty="0">
              <a:latin typeface="Arial" panose="020B0604020202020204" pitchFamily="34" charset="0"/>
              <a:ea typeface="Montserrat" charset="0"/>
              <a:cs typeface="Arial" panose="020B0604020202020204" pitchFamily="34" charset="0"/>
            </a:endParaRPr>
          </a:p>
        </p:txBody>
      </p:sp>
      <p:sp>
        <p:nvSpPr>
          <p:cNvPr id="19" name="TextBox 6"/>
          <p:cNvSpPr txBox="1"/>
          <p:nvPr/>
        </p:nvSpPr>
        <p:spPr>
          <a:xfrm>
            <a:off x="3096675" y="14098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 мин</a:t>
            </a:r>
            <a:endParaRPr lang="ru-RU" sz="1050" dirty="0"/>
          </a:p>
        </p:txBody>
      </p:sp>
      <p:sp>
        <p:nvSpPr>
          <p:cNvPr id="20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3632588" y="1321795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4096512" y="2418334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4422554" y="1824676"/>
            <a:ext cx="961911" cy="12842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Рабочая смена. Обслуживание пассажиров, продажа билетов.</a:t>
            </a:r>
            <a:endParaRPr lang="en-US" sz="110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6"/>
          <p:cNvSpPr txBox="1"/>
          <p:nvPr/>
        </p:nvSpPr>
        <p:spPr>
          <a:xfrm>
            <a:off x="4463628" y="1400294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480 мин</a:t>
            </a:r>
            <a:endParaRPr lang="ru-RU" sz="105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5719652" y="1824676"/>
            <a:ext cx="1220644" cy="12842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Закрытие смены. передача данных о количестве  проданных билетов.</a:t>
            </a: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5384465" y="2386076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6"/>
          <p:cNvSpPr txBox="1"/>
          <p:nvPr/>
        </p:nvSpPr>
        <p:spPr>
          <a:xfrm>
            <a:off x="5890092" y="14098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20 мин</a:t>
            </a:r>
            <a:endParaRPr lang="ru-RU" sz="1050" dirty="0"/>
          </a:p>
        </p:txBody>
      </p:sp>
      <p:cxnSp>
        <p:nvCxnSpPr>
          <p:cNvPr id="28" name="Прямая со стрелкой 27"/>
          <p:cNvCxnSpPr/>
          <p:nvPr/>
        </p:nvCxnSpPr>
        <p:spPr>
          <a:xfrm>
            <a:off x="6940296" y="2455612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7275482" y="1861954"/>
            <a:ext cx="1164430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ием и обработка информации о количестве проданных билетов.</a:t>
            </a:r>
          </a:p>
        </p:txBody>
      </p:sp>
      <p:sp>
        <p:nvSpPr>
          <p:cNvPr id="30" name="TextBox 6"/>
          <p:cNvSpPr txBox="1"/>
          <p:nvPr/>
        </p:nvSpPr>
        <p:spPr>
          <a:xfrm>
            <a:off x="7275483" y="14098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720 мин</a:t>
            </a:r>
            <a:endParaRPr lang="ru-RU" sz="1050" dirty="0"/>
          </a:p>
        </p:txBody>
      </p:sp>
      <p:cxnSp>
        <p:nvCxnSpPr>
          <p:cNvPr id="31" name="Прямая со стрелкой 30"/>
          <p:cNvCxnSpPr/>
          <p:nvPr/>
        </p:nvCxnSpPr>
        <p:spPr>
          <a:xfrm>
            <a:off x="8501047" y="2418334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110856" y="4424228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537705" y="3870720"/>
            <a:ext cx="1171271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ерка правильности выгруженной информации.          Форма 3801.</a:t>
            </a:r>
          </a:p>
        </p:txBody>
      </p:sp>
      <p:sp>
        <p:nvSpPr>
          <p:cNvPr id="36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5041828" y="1263482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7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6489779" y="1286159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8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7913532" y="1279558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9" name="TextBox 6"/>
          <p:cNvSpPr txBox="1"/>
          <p:nvPr/>
        </p:nvSpPr>
        <p:spPr>
          <a:xfrm>
            <a:off x="683458" y="3579374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5 мин</a:t>
            </a:r>
            <a:endParaRPr lang="ru-RU" sz="1050" dirty="0"/>
          </a:p>
        </p:txBody>
      </p:sp>
      <p:cxnSp>
        <p:nvCxnSpPr>
          <p:cNvPr id="40" name="Прямая со стрелкой 39"/>
          <p:cNvCxnSpPr/>
          <p:nvPr/>
        </p:nvCxnSpPr>
        <p:spPr>
          <a:xfrm>
            <a:off x="1708976" y="4464378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2044164" y="3869866"/>
            <a:ext cx="1025516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</a:rPr>
              <a:t>Проверка отчетов</a:t>
            </a:r>
            <a:br>
              <a:rPr lang="ru-RU" sz="1200" dirty="0">
                <a:solidFill>
                  <a:srgbClr val="002060"/>
                </a:solidFill>
              </a:rPr>
            </a:br>
            <a:r>
              <a:rPr lang="ru-RU" sz="1200" dirty="0">
                <a:solidFill>
                  <a:srgbClr val="002060"/>
                </a:solidFill>
              </a:rPr>
              <a:t> форма 1Э и       форма 7.</a:t>
            </a:r>
          </a:p>
        </p:txBody>
      </p:sp>
      <p:sp>
        <p:nvSpPr>
          <p:cNvPr id="42" name="TextBox 6"/>
          <p:cNvSpPr txBox="1"/>
          <p:nvPr/>
        </p:nvSpPr>
        <p:spPr>
          <a:xfrm>
            <a:off x="2189916" y="3579374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5 мин</a:t>
            </a:r>
            <a:endParaRPr lang="ru-RU" sz="105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436249" y="3869866"/>
            <a:ext cx="1025516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ерка отчетов</a:t>
            </a:r>
            <a:b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форма 1Э и       форма 7.</a:t>
            </a:r>
          </a:p>
        </p:txBody>
      </p:sp>
      <p:cxnSp>
        <p:nvCxnSpPr>
          <p:cNvPr id="44" name="Прямая со стрелкой 43"/>
          <p:cNvCxnSpPr/>
          <p:nvPr/>
        </p:nvCxnSpPr>
        <p:spPr>
          <a:xfrm>
            <a:off x="3069680" y="4468696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6"/>
          <p:cNvSpPr txBox="1"/>
          <p:nvPr/>
        </p:nvSpPr>
        <p:spPr>
          <a:xfrm>
            <a:off x="3476995" y="3579374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5 мин</a:t>
            </a:r>
            <a:endParaRPr lang="ru-RU" sz="1050" dirty="0"/>
          </a:p>
        </p:txBody>
      </p:sp>
      <p:cxnSp>
        <p:nvCxnSpPr>
          <p:cNvPr id="48" name="Прямая со стрелкой 47"/>
          <p:cNvCxnSpPr/>
          <p:nvPr/>
        </p:nvCxnSpPr>
        <p:spPr>
          <a:xfrm>
            <a:off x="4461765" y="4463524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2044163" y="3869866"/>
            <a:ext cx="1025516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ерка отчетов</a:t>
            </a:r>
            <a:b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форма 1Э и       форма 7.</a:t>
            </a:r>
          </a:p>
        </p:txBody>
      </p:sp>
      <p:cxnSp>
        <p:nvCxnSpPr>
          <p:cNvPr id="50" name="Прямая со стрелкой 49"/>
          <p:cNvCxnSpPr/>
          <p:nvPr/>
        </p:nvCxnSpPr>
        <p:spPr>
          <a:xfrm>
            <a:off x="4461764" y="4463524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4796950" y="3875038"/>
            <a:ext cx="1093142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дготовка запроса уточненной информации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2" name="Прямая со стрелкой 51"/>
          <p:cNvCxnSpPr/>
          <p:nvPr/>
        </p:nvCxnSpPr>
        <p:spPr>
          <a:xfrm>
            <a:off x="5890092" y="4468696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6"/>
          <p:cNvSpPr txBox="1"/>
          <p:nvPr/>
        </p:nvSpPr>
        <p:spPr>
          <a:xfrm>
            <a:off x="4866574" y="3579374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5 мин</a:t>
            </a:r>
            <a:endParaRPr lang="ru-RU" sz="1050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6217491" y="3875038"/>
            <a:ext cx="1093142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дготовка запрошенной  информации.</a:t>
            </a:r>
          </a:p>
        </p:txBody>
      </p:sp>
      <p:sp>
        <p:nvSpPr>
          <p:cNvPr id="55" name="TextBox 6"/>
          <p:cNvSpPr txBox="1"/>
          <p:nvPr/>
        </p:nvSpPr>
        <p:spPr>
          <a:xfrm>
            <a:off x="6329974" y="3584546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2880 мин</a:t>
            </a:r>
            <a:endParaRPr lang="ru-RU" sz="105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7645820" y="3867848"/>
            <a:ext cx="1138552" cy="127303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верка полученной информации. Заполнение в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грамму 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утевых листов.</a:t>
            </a:r>
          </a:p>
        </p:txBody>
      </p:sp>
      <p:cxnSp>
        <p:nvCxnSpPr>
          <p:cNvPr id="57" name="Прямая со стрелкой 56"/>
          <p:cNvCxnSpPr/>
          <p:nvPr/>
        </p:nvCxnSpPr>
        <p:spPr>
          <a:xfrm>
            <a:off x="7310633" y="4488236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6"/>
          <p:cNvSpPr txBox="1"/>
          <p:nvPr/>
        </p:nvSpPr>
        <p:spPr>
          <a:xfrm>
            <a:off x="7698727" y="3568310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480 мин</a:t>
            </a:r>
            <a:endParaRPr lang="ru-RU" sz="1050" dirty="0"/>
          </a:p>
        </p:txBody>
      </p:sp>
      <p:sp>
        <p:nvSpPr>
          <p:cNvPr id="59" name="Двойная стрелка влево/вправо 58"/>
          <p:cNvSpPr/>
          <p:nvPr/>
        </p:nvSpPr>
        <p:spPr>
          <a:xfrm>
            <a:off x="180604" y="5912719"/>
            <a:ext cx="8897506" cy="339436"/>
          </a:xfrm>
          <a:prstGeom prst="leftRight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60" name="TextBox 38"/>
          <p:cNvSpPr txBox="1"/>
          <p:nvPr/>
        </p:nvSpPr>
        <p:spPr>
          <a:xfrm>
            <a:off x="6764062" y="5245424"/>
            <a:ext cx="20048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/>
              <a:t>ВПП= 4 138 мин. </a:t>
            </a:r>
            <a:r>
              <a:rPr lang="ru-RU" b="1" dirty="0" smtClean="0"/>
              <a:t> </a:t>
            </a:r>
          </a:p>
          <a:p>
            <a:r>
              <a:rPr lang="ru-RU" b="1" dirty="0" smtClean="0"/>
              <a:t>от 2 до 4 дней</a:t>
            </a:r>
            <a:endParaRPr lang="ru-RU" b="1" dirty="0"/>
          </a:p>
        </p:txBody>
      </p:sp>
      <p:sp>
        <p:nvSpPr>
          <p:cNvPr id="63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1273684" y="3317382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4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2761245" y="3317381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5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4096268" y="3325385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6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5384221" y="3263429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7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 rot="17483929">
            <a:off x="6888390" y="3317383"/>
            <a:ext cx="603127" cy="410913"/>
          </a:xfrm>
          <a:prstGeom prst="irregularSeal2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021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8976" y="182139"/>
            <a:ext cx="7158720" cy="615553"/>
          </a:xfrm>
        </p:spPr>
        <p:txBody>
          <a:bodyPr/>
          <a:lstStyle/>
          <a:p>
            <a:pPr lvl="0" defTabSz="913526" fontAlgn="base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формирования и выгрузки отчета системы  АСКО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45" name="Picture 280" descr="Росатом — Википедия">
            <a:extLst>
              <a:ext uri="{FF2B5EF4-FFF2-40B4-BE49-F238E27FC236}">
                <a16:creationId xmlns="" xmlns:a16="http://schemas.microsoft.com/office/drawing/2014/main" id="{F763E6C8-9ABC-47E6-81A6-5182214A95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2489" y="99391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95B31BA9-2FD6-4354-B54D-95C71D4464BA}"/>
              </a:ext>
            </a:extLst>
          </p:cNvPr>
          <p:cNvCxnSpPr/>
          <p:nvPr/>
        </p:nvCxnSpPr>
        <p:spPr>
          <a:xfrm>
            <a:off x="494039" y="782720"/>
            <a:ext cx="81435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E9C0FD77-1FD0-439E-834D-F84D62C39649}"/>
              </a:ext>
            </a:extLst>
          </p:cNvPr>
          <p:cNvSpPr txBox="1"/>
          <p:nvPr/>
        </p:nvSpPr>
        <p:spPr>
          <a:xfrm>
            <a:off x="2341469" y="1085013"/>
            <a:ext cx="36693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снование выбора проекта</a:t>
            </a:r>
            <a:endParaRPr lang="ru-RU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13" y="245695"/>
            <a:ext cx="155416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708976" y="1721523"/>
            <a:ext cx="70296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dirty="0">
                <a:solidFill>
                  <a:srgbClr val="414142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Ежедневное исправление ошибок и формирование отчета вручную в ГУП «ИЦ Регион-Курск</a:t>
            </a:r>
            <a:r>
              <a:rPr lang="ru-RU" dirty="0" smtClean="0">
                <a:solidFill>
                  <a:srgbClr val="414142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».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863789" y="4422902"/>
            <a:ext cx="1958741" cy="4565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414142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Низкая выручка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86382" y="2969075"/>
            <a:ext cx="68057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414142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Необходимость перехода на АСКОП (автоматизированная система контроля оплаты проезда).</a:t>
            </a:r>
          </a:p>
        </p:txBody>
      </p:sp>
      <p:sp>
        <p:nvSpPr>
          <p:cNvPr id="12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77406" y="1362905"/>
            <a:ext cx="1708976" cy="1192433"/>
          </a:xfrm>
          <a:prstGeom prst="irregularSeal2">
            <a:avLst/>
          </a:prstGeom>
          <a:solidFill>
            <a:srgbClr val="FFA7A7"/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20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154813" y="2697798"/>
            <a:ext cx="1708976" cy="1192433"/>
          </a:xfrm>
          <a:prstGeom prst="irregularSeal2">
            <a:avLst/>
          </a:prstGeom>
          <a:solidFill>
            <a:srgbClr val="FFA7A7"/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20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Взрыв: 14 точек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ED8DC02A-BD84-451F-9F65-8B3841B3490D}"/>
              </a:ext>
            </a:extLst>
          </p:cNvPr>
          <p:cNvSpPr/>
          <p:nvPr/>
        </p:nvSpPr>
        <p:spPr>
          <a:xfrm>
            <a:off x="77406" y="4054954"/>
            <a:ext cx="1708976" cy="1192433"/>
          </a:xfrm>
          <a:prstGeom prst="irregularSeal2">
            <a:avLst/>
          </a:prstGeom>
          <a:solidFill>
            <a:srgbClr val="FFA7A7"/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2000" b="1" kern="2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828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54163" y="182139"/>
            <a:ext cx="7158720" cy="615553"/>
          </a:xfrm>
        </p:spPr>
        <p:txBody>
          <a:bodyPr/>
          <a:lstStyle/>
          <a:p>
            <a:pPr lvl="0" defTabSz="913526" fontAlgn="base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формирования и выгрузки отчета системы  АСКО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45" name="Picture 280" descr="Росатом — Википедия">
            <a:extLst>
              <a:ext uri="{FF2B5EF4-FFF2-40B4-BE49-F238E27FC236}">
                <a16:creationId xmlns="" xmlns:a16="http://schemas.microsoft.com/office/drawing/2014/main" id="{F763E6C8-9ABC-47E6-81A6-5182214A95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2489" y="99391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95B31BA9-2FD6-4354-B54D-95C71D4464BA}"/>
              </a:ext>
            </a:extLst>
          </p:cNvPr>
          <p:cNvCxnSpPr/>
          <p:nvPr/>
        </p:nvCxnSpPr>
        <p:spPr>
          <a:xfrm>
            <a:off x="494039" y="782720"/>
            <a:ext cx="81435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4839"/>
            <a:ext cx="155416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: скругленные углы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4BF15E74-B780-48D0-9C76-FDE950BD3408}"/>
              </a:ext>
            </a:extLst>
          </p:cNvPr>
          <p:cNvSpPr/>
          <p:nvPr/>
        </p:nvSpPr>
        <p:spPr>
          <a:xfrm>
            <a:off x="690721" y="1539657"/>
            <a:ext cx="1726883" cy="22197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chemeClr val="bg1"/>
                </a:solidFill>
              </a:rPr>
              <a:t>Сформировать письмо в Регион-Курск с перечнем вопросов (проблем).</a:t>
            </a:r>
          </a:p>
        </p:txBody>
      </p:sp>
      <p:sp>
        <p:nvSpPr>
          <p:cNvPr id="8" name="Прямоугольник: скругленные углы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4BF15E74-B780-48D0-9C76-FDE950BD3408}"/>
              </a:ext>
            </a:extLst>
          </p:cNvPr>
          <p:cNvSpPr/>
          <p:nvPr/>
        </p:nvSpPr>
        <p:spPr>
          <a:xfrm>
            <a:off x="3417280" y="1539657"/>
            <a:ext cx="1726883" cy="22197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chemeClr val="bg1"/>
                </a:solidFill>
              </a:rPr>
              <a:t>Подготовка и отправка письма по доработке ПО, выбора зонирования по введению суммы проезда.</a:t>
            </a:r>
          </a:p>
        </p:txBody>
      </p:sp>
      <p:sp>
        <p:nvSpPr>
          <p:cNvPr id="9" name="Прямоугольник: скругленные углы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4BF15E74-B780-48D0-9C76-FDE950BD3408}"/>
              </a:ext>
            </a:extLst>
          </p:cNvPr>
          <p:cNvSpPr/>
          <p:nvPr/>
        </p:nvSpPr>
        <p:spPr>
          <a:xfrm>
            <a:off x="6150004" y="1539657"/>
            <a:ext cx="1726883" cy="22197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chemeClr val="bg1"/>
                </a:solidFill>
              </a:rPr>
              <a:t>Решить вопрос с формированием неправильных отчетов. </a:t>
            </a:r>
          </a:p>
        </p:txBody>
      </p:sp>
      <p:sp>
        <p:nvSpPr>
          <p:cNvPr id="10" name="Прямоугольник: скругленные углы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4BF15E74-B780-48D0-9C76-FDE950BD3408}"/>
              </a:ext>
            </a:extLst>
          </p:cNvPr>
          <p:cNvSpPr/>
          <p:nvPr/>
        </p:nvSpPr>
        <p:spPr>
          <a:xfrm>
            <a:off x="1933552" y="4272461"/>
            <a:ext cx="1726883" cy="22197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chemeClr val="bg1"/>
                </a:solidFill>
              </a:rPr>
              <a:t>Переход на электронную систему оплаты. </a:t>
            </a:r>
          </a:p>
          <a:p>
            <a:pPr algn="ctr"/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: скругленные углы 2">
            <a:extLst>
              <a:ext uri="{FF2B5EF4-FFF2-40B4-BE49-F238E27FC236}">
                <a16:creationId xmlns:lc="http://schemas.openxmlformats.org/drawingml/2006/lockedCanvas" xmlns:a16="http://schemas.microsoft.com/office/drawing/2014/main" xmlns="" id="{4BF15E74-B780-48D0-9C76-FDE950BD3408}"/>
              </a:ext>
            </a:extLst>
          </p:cNvPr>
          <p:cNvSpPr/>
          <p:nvPr/>
        </p:nvSpPr>
        <p:spPr>
          <a:xfrm>
            <a:off x="4829361" y="4272618"/>
            <a:ext cx="1726883" cy="22197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chemeClr val="bg1"/>
                </a:solidFill>
              </a:rPr>
              <a:t>Сформировать трехстороннюю рабочую группу: Транспортный комитет, Регион-Курск, Транспортные линии. Проработать вопросы по запуску электронного документооборота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08991" y="1064624"/>
            <a:ext cx="591360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для решения выявленны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</a:t>
            </a:r>
            <a:endParaRPr lang="ru-RU" dirty="0"/>
          </a:p>
        </p:txBody>
      </p:sp>
      <p:sp>
        <p:nvSpPr>
          <p:cNvPr id="13" name="TextBox 1"/>
          <p:cNvSpPr txBox="1"/>
          <p:nvPr/>
        </p:nvSpPr>
        <p:spPr>
          <a:xfrm>
            <a:off x="777081" y="1615699"/>
            <a:ext cx="5482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 smtClean="0"/>
              <a:t>1.</a:t>
            </a:r>
            <a:endParaRPr lang="ru-RU" sz="1100" b="1" dirty="0"/>
          </a:p>
        </p:txBody>
      </p:sp>
      <p:sp>
        <p:nvSpPr>
          <p:cNvPr id="14" name="TextBox 1"/>
          <p:cNvSpPr txBox="1"/>
          <p:nvPr/>
        </p:nvSpPr>
        <p:spPr>
          <a:xfrm>
            <a:off x="3498945" y="1637294"/>
            <a:ext cx="5482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 smtClean="0"/>
              <a:t>2.</a:t>
            </a:r>
            <a:endParaRPr lang="ru-RU" sz="1100" b="1" dirty="0"/>
          </a:p>
        </p:txBody>
      </p:sp>
      <p:sp>
        <p:nvSpPr>
          <p:cNvPr id="15" name="TextBox 1"/>
          <p:cNvSpPr txBox="1"/>
          <p:nvPr/>
        </p:nvSpPr>
        <p:spPr>
          <a:xfrm>
            <a:off x="6150004" y="1658889"/>
            <a:ext cx="5482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/>
              <a:t>3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sp>
        <p:nvSpPr>
          <p:cNvPr id="16" name="TextBox 1"/>
          <p:cNvSpPr txBox="1"/>
          <p:nvPr/>
        </p:nvSpPr>
        <p:spPr>
          <a:xfrm>
            <a:off x="1957590" y="4346864"/>
            <a:ext cx="5482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/>
              <a:t>4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sp>
        <p:nvSpPr>
          <p:cNvPr id="17" name="TextBox 1"/>
          <p:cNvSpPr txBox="1"/>
          <p:nvPr/>
        </p:nvSpPr>
        <p:spPr>
          <a:xfrm>
            <a:off x="4870030" y="4346864"/>
            <a:ext cx="5482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/>
              <a:t>5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</p:spTree>
    <p:extLst>
      <p:ext uri="{BB962C8B-B14F-4D97-AF65-F5344CB8AC3E}">
        <p14:creationId xmlns:p14="http://schemas.microsoft.com/office/powerpoint/2010/main" val="903698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8976" y="182139"/>
            <a:ext cx="7158720" cy="615553"/>
          </a:xfrm>
        </p:spPr>
        <p:txBody>
          <a:bodyPr/>
          <a:lstStyle/>
          <a:p>
            <a:pPr lvl="0" defTabSz="913526" fontAlgn="base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формирования и выгрузки отчета системы  АСКО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45" name="Picture 280" descr="Росатом — Википедия">
            <a:extLst>
              <a:ext uri="{FF2B5EF4-FFF2-40B4-BE49-F238E27FC236}">
                <a16:creationId xmlns="" xmlns:a16="http://schemas.microsoft.com/office/drawing/2014/main" id="{F763E6C8-9ABC-47E6-81A6-5182214A95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2489" y="99391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95B31BA9-2FD6-4354-B54D-95C71D4464BA}"/>
              </a:ext>
            </a:extLst>
          </p:cNvPr>
          <p:cNvCxnSpPr/>
          <p:nvPr/>
        </p:nvCxnSpPr>
        <p:spPr>
          <a:xfrm>
            <a:off x="494039" y="782720"/>
            <a:ext cx="81435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13" y="245695"/>
            <a:ext cx="155416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46850" y="2069352"/>
            <a:ext cx="879764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Открытие смены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1" name="TextBox 6"/>
          <p:cNvSpPr txBox="1"/>
          <p:nvPr/>
        </p:nvSpPr>
        <p:spPr>
          <a:xfrm>
            <a:off x="546849" y="16384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 мин</a:t>
            </a:r>
            <a:endParaRPr lang="ru-RU" sz="105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808722" y="2069352"/>
            <a:ext cx="961910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</a:rPr>
              <a:t>Проверка  и передача терминала АСКОП кондуктору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1426614" y="2674673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6"/>
          <p:cNvSpPr txBox="1"/>
          <p:nvPr/>
        </p:nvSpPr>
        <p:spPr>
          <a:xfrm>
            <a:off x="1808722" y="1638465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1 мин</a:t>
            </a:r>
            <a:endParaRPr lang="ru-RU" sz="1050" dirty="0"/>
          </a:p>
        </p:txBody>
      </p:sp>
      <p:cxnSp>
        <p:nvCxnSpPr>
          <p:cNvPr id="16" name="Прямая со стрелкой 15"/>
          <p:cNvCxnSpPr/>
          <p:nvPr/>
        </p:nvCxnSpPr>
        <p:spPr>
          <a:xfrm>
            <a:off x="2770632" y="2658491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111821" y="2090554"/>
            <a:ext cx="961911" cy="12842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Рабочая смена. Обслуживание пассажиров, продажа билетов.</a:t>
            </a:r>
            <a:endParaRPr lang="en-US" sz="120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6"/>
          <p:cNvSpPr txBox="1"/>
          <p:nvPr/>
        </p:nvSpPr>
        <p:spPr>
          <a:xfrm>
            <a:off x="3152894" y="1655899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480 мин</a:t>
            </a:r>
            <a:endParaRPr lang="ru-RU" sz="105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408919" y="2090554"/>
            <a:ext cx="1220644" cy="128428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Закрытие смены. передача данных о количестве  проданных билетов.</a:t>
            </a: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4073732" y="2646934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6"/>
          <p:cNvSpPr txBox="1"/>
          <p:nvPr/>
        </p:nvSpPr>
        <p:spPr>
          <a:xfrm>
            <a:off x="4472901" y="1692271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20 мин</a:t>
            </a:r>
            <a:endParaRPr lang="ru-RU" sz="1050" dirty="0"/>
          </a:p>
        </p:txBody>
      </p:sp>
      <p:cxnSp>
        <p:nvCxnSpPr>
          <p:cNvPr id="28" name="Прямая со стрелкой 27"/>
          <p:cNvCxnSpPr/>
          <p:nvPr/>
        </p:nvCxnSpPr>
        <p:spPr>
          <a:xfrm>
            <a:off x="5629563" y="2646934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5964750" y="2090554"/>
            <a:ext cx="1164430" cy="11873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ием и обработка информации о количестве проданных билетов.</a:t>
            </a:r>
          </a:p>
        </p:txBody>
      </p:sp>
      <p:sp>
        <p:nvSpPr>
          <p:cNvPr id="30" name="TextBox 6"/>
          <p:cNvSpPr txBox="1"/>
          <p:nvPr/>
        </p:nvSpPr>
        <p:spPr>
          <a:xfrm>
            <a:off x="6066829" y="1719703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720 мин</a:t>
            </a:r>
            <a:endParaRPr lang="ru-RU" sz="1050" dirty="0"/>
          </a:p>
        </p:txBody>
      </p:sp>
      <p:cxnSp>
        <p:nvCxnSpPr>
          <p:cNvPr id="31" name="Прямая со стрелкой 30"/>
          <p:cNvCxnSpPr/>
          <p:nvPr/>
        </p:nvCxnSpPr>
        <p:spPr>
          <a:xfrm>
            <a:off x="7142857" y="2674673"/>
            <a:ext cx="335187" cy="0"/>
          </a:xfrm>
          <a:prstGeom prst="straightConnector1">
            <a:avLst/>
          </a:prstGeom>
          <a:ln w="25400"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7449083" y="2101804"/>
            <a:ext cx="1138552" cy="127303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>
                <a:solidFill>
                  <a:srgbClr val="002060"/>
                </a:solidFill>
              </a:rPr>
              <a:t>Сверка полученной информации. Заполнение в </a:t>
            </a:r>
            <a:r>
              <a:rPr lang="ru-RU" sz="1200" dirty="0" smtClean="0">
                <a:solidFill>
                  <a:srgbClr val="002060"/>
                </a:solidFill>
              </a:rPr>
              <a:t>программу  </a:t>
            </a:r>
            <a:r>
              <a:rPr lang="ru-RU" sz="1200" dirty="0">
                <a:solidFill>
                  <a:srgbClr val="002060"/>
                </a:solidFill>
              </a:rPr>
              <a:t>путевых листов.</a:t>
            </a:r>
          </a:p>
        </p:txBody>
      </p:sp>
      <p:sp>
        <p:nvSpPr>
          <p:cNvPr id="58" name="TextBox 6"/>
          <p:cNvSpPr txBox="1"/>
          <p:nvPr/>
        </p:nvSpPr>
        <p:spPr>
          <a:xfrm>
            <a:off x="7578477" y="1775863"/>
            <a:ext cx="8797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dirty="0" smtClean="0"/>
              <a:t>480 мин</a:t>
            </a:r>
            <a:endParaRPr lang="ru-RU" sz="1050" dirty="0"/>
          </a:p>
        </p:txBody>
      </p:sp>
      <p:sp>
        <p:nvSpPr>
          <p:cNvPr id="59" name="Двойная стрелка влево/вправо 58"/>
          <p:cNvSpPr/>
          <p:nvPr/>
        </p:nvSpPr>
        <p:spPr>
          <a:xfrm>
            <a:off x="246494" y="5221793"/>
            <a:ext cx="8897506" cy="339436"/>
          </a:xfrm>
          <a:prstGeom prst="leftRight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60" name="TextBox 38"/>
          <p:cNvSpPr txBox="1"/>
          <p:nvPr/>
        </p:nvSpPr>
        <p:spPr>
          <a:xfrm>
            <a:off x="5043531" y="4745180"/>
            <a:ext cx="39298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/>
              <a:t>ВПП= 1702 мин. (28 ч. 37 мин ., 1.2 д) </a:t>
            </a:r>
            <a:br>
              <a:rPr lang="ru-RU" b="1" dirty="0"/>
            </a:br>
            <a:endParaRPr lang="ru-RU" b="1" dirty="0"/>
          </a:p>
        </p:txBody>
      </p:sp>
      <p:sp>
        <p:nvSpPr>
          <p:cNvPr id="61" name="TextBox 19">
            <a:extLst>
              <a:ext uri="{FF2B5EF4-FFF2-40B4-BE49-F238E27FC236}">
                <a16:creationId xmlns:lc="http://schemas.openxmlformats.org/drawingml/2006/lockedCanvas" xmlns:a16="http://schemas.microsoft.com/office/drawing/2014/main" xmlns="" id="{2C36ACC6-923C-4472-9CD5-C713590C8683}"/>
              </a:ext>
            </a:extLst>
          </p:cNvPr>
          <p:cNvSpPr txBox="1"/>
          <p:nvPr/>
        </p:nvSpPr>
        <p:spPr>
          <a:xfrm>
            <a:off x="494039" y="1026745"/>
            <a:ext cx="8071738" cy="3416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е состояние проекта</a:t>
            </a:r>
            <a:endParaRPr lang="ru-RU" sz="1400" dirty="0">
              <a:latin typeface="Arial" panose="020B0604020202020204" pitchFamily="34" charset="0"/>
              <a:ea typeface="Montserrat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16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8976" y="129398"/>
            <a:ext cx="6593513" cy="615553"/>
          </a:xfrm>
        </p:spPr>
        <p:txBody>
          <a:bodyPr/>
          <a:lstStyle/>
          <a:p>
            <a:pPr lvl="0" defTabSz="913526" fontAlgn="base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формирования и выгрузки отчета системы  АСКО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45" name="Picture 280" descr="Росатом — Википедия">
            <a:extLst>
              <a:ext uri="{FF2B5EF4-FFF2-40B4-BE49-F238E27FC236}">
                <a16:creationId xmlns="" xmlns:a16="http://schemas.microsoft.com/office/drawing/2014/main" id="{F763E6C8-9ABC-47E6-81A6-5182214A95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2489" y="99391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95B31BA9-2FD6-4354-B54D-95C71D4464BA}"/>
              </a:ext>
            </a:extLst>
          </p:cNvPr>
          <p:cNvCxnSpPr/>
          <p:nvPr/>
        </p:nvCxnSpPr>
        <p:spPr>
          <a:xfrm>
            <a:off x="494039" y="782720"/>
            <a:ext cx="81435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2C36ACC6-923C-4472-9CD5-C713590C8683}"/>
              </a:ext>
            </a:extLst>
          </p:cNvPr>
          <p:cNvSpPr txBox="1"/>
          <p:nvPr/>
        </p:nvSpPr>
        <p:spPr>
          <a:xfrm>
            <a:off x="529926" y="1012313"/>
            <a:ext cx="8071738" cy="3416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е показателей в результате реализации проекта</a:t>
            </a:r>
            <a:endParaRPr lang="ru-RU" sz="1400" dirty="0">
              <a:latin typeface="Arial" panose="020B0604020202020204" pitchFamily="34" charset="0"/>
              <a:ea typeface="Montserrat" charset="0"/>
              <a:cs typeface="Arial" panose="020B0604020202020204" pitchFamily="34" charset="0"/>
            </a:endParaRP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="" xmlns:a16="http://schemas.microsoft.com/office/drawing/2014/main" id="{5A292FF2-96B2-4DA7-9974-BFAC05F3CB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9728707"/>
              </p:ext>
            </p:extLst>
          </p:nvPr>
        </p:nvGraphicFramePr>
        <p:xfrm>
          <a:off x="154814" y="1353945"/>
          <a:ext cx="4219224" cy="4796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13" y="181687"/>
            <a:ext cx="155416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Диаграмма 7">
            <a:extLst>
              <a:ext uri="{FF2B5EF4-FFF2-40B4-BE49-F238E27FC236}">
                <a16:creationId xmlns="" xmlns:a16="http://schemas.microsoft.com/office/drawing/2014/main" id="{5A292FF2-96B2-4DA7-9974-BFAC05F3CB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8533301"/>
              </p:ext>
            </p:extLst>
          </p:nvPr>
        </p:nvGraphicFramePr>
        <p:xfrm>
          <a:off x="4760537" y="1353945"/>
          <a:ext cx="3996966" cy="4796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267760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00416" y="204142"/>
            <a:ext cx="7158720" cy="615553"/>
          </a:xfrm>
        </p:spPr>
        <p:txBody>
          <a:bodyPr/>
          <a:lstStyle/>
          <a:p>
            <a:pPr lvl="0" defTabSz="913526" fontAlgn="base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формирования и выгрузки отчета системы  АСКО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Times New Roman" pitchFamily="18" charset="0"/>
            </a:endParaRPr>
          </a:p>
        </p:txBody>
      </p:sp>
      <p:pic>
        <p:nvPicPr>
          <p:cNvPr id="45" name="Picture 280" descr="Росатом — Википедия">
            <a:extLst>
              <a:ext uri="{FF2B5EF4-FFF2-40B4-BE49-F238E27FC236}">
                <a16:creationId xmlns="" xmlns:a16="http://schemas.microsoft.com/office/drawing/2014/main" id="{F763E6C8-9ABC-47E6-81A6-5182214A95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2489" y="99391"/>
            <a:ext cx="670905" cy="68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="" xmlns:a16="http://schemas.microsoft.com/office/drawing/2014/main" id="{95B31BA9-2FD6-4354-B54D-95C71D4464BA}"/>
              </a:ext>
            </a:extLst>
          </p:cNvPr>
          <p:cNvCxnSpPr/>
          <p:nvPr/>
        </p:nvCxnSpPr>
        <p:spPr>
          <a:xfrm>
            <a:off x="494039" y="782720"/>
            <a:ext cx="81435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2C36ACC6-923C-4472-9CD5-C713590C8683}"/>
              </a:ext>
            </a:extLst>
          </p:cNvPr>
          <p:cNvSpPr txBox="1"/>
          <p:nvPr/>
        </p:nvSpPr>
        <p:spPr>
          <a:xfrm>
            <a:off x="494039" y="1491250"/>
            <a:ext cx="8071738" cy="3416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е целевых показателей</a:t>
            </a:r>
            <a:endParaRPr lang="ru-RU" sz="1400" dirty="0">
              <a:latin typeface="Arial" panose="020B0604020202020204" pitchFamily="34" charset="0"/>
              <a:ea typeface="Montserrat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7">
            <a:extLst>
              <a:ext uri="{FF2B5EF4-FFF2-40B4-BE49-F238E27FC236}">
                <a16:creationId xmlns="" xmlns:a16="http://schemas.microsoft.com/office/drawing/2014/main" id="{14A7BC80-C2C7-4564-A867-11859716DA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622280"/>
              </p:ext>
            </p:extLst>
          </p:nvPr>
        </p:nvGraphicFramePr>
        <p:xfrm>
          <a:off x="327342" y="2230063"/>
          <a:ext cx="8405132" cy="1872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61857">
                  <a:extLst>
                    <a:ext uri="{9D8B030D-6E8A-4147-A177-3AD203B41FA5}">
                      <a16:colId xmlns="" xmlns:a16="http://schemas.microsoft.com/office/drawing/2014/main" val="1721163159"/>
                    </a:ext>
                  </a:extLst>
                </a:gridCol>
                <a:gridCol w="1118507">
                  <a:extLst>
                    <a:ext uri="{9D8B030D-6E8A-4147-A177-3AD203B41FA5}">
                      <a16:colId xmlns="" xmlns:a16="http://schemas.microsoft.com/office/drawing/2014/main" val="1588396146"/>
                    </a:ext>
                  </a:extLst>
                </a:gridCol>
                <a:gridCol w="1040946">
                  <a:extLst>
                    <a:ext uri="{9D8B030D-6E8A-4147-A177-3AD203B41FA5}">
                      <a16:colId xmlns="" xmlns:a16="http://schemas.microsoft.com/office/drawing/2014/main" val="3129641170"/>
                    </a:ext>
                  </a:extLst>
                </a:gridCol>
                <a:gridCol w="1183822">
                  <a:extLst>
                    <a:ext uri="{9D8B030D-6E8A-4147-A177-3AD203B41FA5}">
                      <a16:colId xmlns="" xmlns:a16="http://schemas.microsoft.com/office/drawing/2014/main" val="3680791067"/>
                    </a:ext>
                  </a:extLst>
                </a:gridCol>
              </a:tblGrid>
              <a:tr h="5152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Наименование цел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3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 показател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3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показатель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ru-RU" sz="135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ие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53057455"/>
                  </a:ext>
                </a:extLst>
              </a:tr>
              <a:tr h="648754"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окращение времени на формирование отчета (с учетом работы кондуктора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4 </a:t>
                      </a:r>
                      <a:r>
                        <a:rPr lang="ru-RU" b="1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сут</a:t>
                      </a:r>
                      <a:r>
                        <a:rPr lang="ru-RU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.</a:t>
                      </a:r>
                      <a:endParaRPr lang="ru-RU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</a:t>
                      </a:r>
                      <a:r>
                        <a:rPr lang="ru-RU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ru-RU" b="1" baseline="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сут</a:t>
                      </a:r>
                      <a:r>
                        <a:rPr lang="ru-RU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.</a:t>
                      </a:r>
                      <a:endParaRPr lang="ru-RU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28589493"/>
                  </a:ext>
                </a:extLst>
              </a:tr>
              <a:tr h="648754"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Исключение ошибок при формировании отчет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ежедневно</a:t>
                      </a:r>
                      <a:endParaRPr lang="ru-RU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Отсутствие ошибок</a:t>
                      </a:r>
                      <a:endParaRPr lang="ru-RU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окращение ошибок на 40%</a:t>
                      </a:r>
                      <a:endParaRPr lang="ru-RU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CCAA4909-62BB-4883-9B3A-C1722EA420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6584" y="2692418"/>
            <a:ext cx="523342" cy="52193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64404822-6DDB-4715-94A5-6C3F9C49787C}"/>
              </a:ext>
            </a:extLst>
          </p:cNvPr>
          <p:cNvSpPr txBox="1"/>
          <p:nvPr/>
        </p:nvSpPr>
        <p:spPr>
          <a:xfrm>
            <a:off x="391886" y="4525646"/>
            <a:ext cx="84051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* Срок реализации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 30.06.2021г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53" y="121394"/>
            <a:ext cx="155416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86440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50" id="{6DEC93EF-9E65-AE4D-AF29-577CCE25C2BA}" vid="{2EC9C681-5FC3-6646-9972-1309E8B19FA2}"/>
    </a:ext>
  </a:extLst>
</a:theme>
</file>

<file path=ppt/theme/theme10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50" id="{6DEC93EF-9E65-AE4D-AF29-577CCE25C2BA}" vid="{627D1A01-8A3C-5540-9D44-6F26F42DC8A3}"/>
    </a:ext>
  </a:extLst>
</a:theme>
</file>

<file path=ppt/theme/theme3.xml><?xml version="1.0" encoding="utf-8"?>
<a:theme xmlns:a="http://schemas.openxmlformats.org/drawingml/2006/main" name="Текст картинк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кст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Диаграмма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50" id="{6DEC93EF-9E65-AE4D-AF29-577CCE25C2BA}" vid="{39E5E070-8CD9-6841-96EA-CE863DBDA369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Policy Auditing</Name>
    <Synchronization>Synchronous</Synchronization>
    <Type>10001</Type>
    <SequenceNumber>1100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1</Type>
    <SequenceNumber>1100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6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6.0.0.0, Culture=neutral, PublicKeyToken=71e9bce111e9429c</Assembly>
    <Class>Microsoft.Office.RecordsManagement.Internal.AuditHandler</Class>
    <Data/>
    <Filter/>
  </Receiver>
</spe:Receivers>
</file>

<file path=customXml/item2.xml><?xml version="1.0" encoding="utf-8"?>
<?mso-contentType ?>
<p:Policy xmlns:p="office.server.policy" id="" local="true">
  <p:Name>Элемент</p:Name>
  <p:Description/>
  <p:Statement/>
  <p:PolicyItems>
    <p:PolicyItem featureId="Microsoft.Office.RecordsManagement.PolicyFeatures.PolicyAudit" staticId="0x01|937198175" UniqueId="106fca31-c6e6-4a66-b730-e63216fd6ef8">
      <p:Name>аудит</p:Name>
      <p:Description>Аудит действий пользователей, выполняемых с документами и элементами списков, и запись в журнал аудита.</p:Description>
      <p:CustomData>
        <Audit>
          <View/>
        </Audit>
      </p:CustomData>
    </p:PolicyItem>
  </p:PolicyItems>
</p:Policy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ff4c2c1-8689-4034-8d5c-aee388c78814">Y4CSVDRETKKH-1460791907-77</_dlc_DocId>
    <_dlc_DocIdUrl xmlns="3ff4c2c1-8689-4034-8d5c-aee388c78814">
      <Url>http://home.ase-ec.ru/about/_layouts/15/DocIdRedir.aspx?ID=Y4CSVDRETKKH-1460791907-77</Url>
      <Description>Y4CSVDRETKKH-1460791907-77</Description>
    </_dlc_DocIdUrl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D6FD0086B58C643B10796A38D971115" ma:contentTypeVersion="13" ma:contentTypeDescription="Создание документа." ma:contentTypeScope="" ma:versionID="da9847a4c8ec78ec87dd07ebfd5b1c0e">
  <xsd:schema xmlns:xsd="http://www.w3.org/2001/XMLSchema" xmlns:xs="http://www.w3.org/2001/XMLSchema" xmlns:p="http://schemas.microsoft.com/office/2006/metadata/properties" xmlns:ns1="http://schemas.microsoft.com/sharepoint/v3" xmlns:ns2="3ff4c2c1-8689-4034-8d5c-aee388c78814" targetNamespace="http://schemas.microsoft.com/office/2006/metadata/properties" ma:root="true" ma:fieldsID="20b2474b27947a6f39e30fb72673d7f7" ns1:_="" ns2:_="">
    <xsd:import namespace="http://schemas.microsoft.com/sharepoint/v3"/>
    <xsd:import namespace="3ff4c2c1-8689-4034-8d5c-aee388c7881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_dlc_Exempt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1" nillable="true" ma:displayName="Исключение из политики" ma:description="" ma:hidden="true" ma:internalName="_dlc_Exempt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f4c2c1-8689-4034-8d5c-aee388c7881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  <xsd:element name="SharedWithUsers" ma:index="12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0163F7-C7D0-4EB0-97DA-A49FF2904DB6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07AA6B6C-2C93-492D-9569-B2361757E2AF}">
  <ds:schemaRefs>
    <ds:schemaRef ds:uri="office.server.policy"/>
  </ds:schemaRefs>
</ds:datastoreItem>
</file>

<file path=customXml/itemProps3.xml><?xml version="1.0" encoding="utf-8"?>
<ds:datastoreItem xmlns:ds="http://schemas.openxmlformats.org/officeDocument/2006/customXml" ds:itemID="{3BF9D226-30B1-4B17-AC62-9BBD90D061E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588543E-BC84-4FEA-9516-77E0D5D9919A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3ff4c2c1-8689-4034-8d5c-aee388c78814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89FAFA9D-2987-4270-BA7A-F57CB2662F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ff4c2c1-8689-4034-8d5c-aee388c788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4x3_white_template</Template>
  <TotalTime>2063</TotalTime>
  <Words>607</Words>
  <Application>Microsoft Office PowerPoint</Application>
  <PresentationFormat>Экран (4:3)</PresentationFormat>
  <Paragraphs>136</Paragraphs>
  <Slides>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0" baseType="lpstr">
      <vt:lpstr>Титульный слайд</vt:lpstr>
      <vt:lpstr>Перебивочный слайд</vt:lpstr>
      <vt:lpstr>Текст картинка</vt:lpstr>
      <vt:lpstr>Текст</vt:lpstr>
      <vt:lpstr>Диаграмма</vt:lpstr>
      <vt:lpstr>Текст диаграмма</vt:lpstr>
      <vt:lpstr>Заключительный слайд</vt:lpstr>
      <vt:lpstr>3_RDM027</vt:lpstr>
      <vt:lpstr>Тема Office</vt:lpstr>
      <vt:lpstr>4_b-default</vt:lpstr>
      <vt:lpstr>5_b-default</vt:lpstr>
      <vt:lpstr>think-cell Slide</vt:lpstr>
      <vt:lpstr>Презентация PowerPoint</vt:lpstr>
      <vt:lpstr>ПСР-проект «Оптимизация формирования и выгрузки отчета системы  АСКОП» в МУП «Транспортные линии»</vt:lpstr>
      <vt:lpstr>Оптимизация формирования и выгрузки отчета системы  АСКОП</vt:lpstr>
      <vt:lpstr>Оптимизация формирования и выгрузки отчета системы  АСКОП</vt:lpstr>
      <vt:lpstr>Оптимизация формирования и выгрузки отчета системы  АСКОП</vt:lpstr>
      <vt:lpstr>Оптимизация формирования и выгрузки отчета системы  АСКОП</vt:lpstr>
      <vt:lpstr>Оптимизация формирования и выгрузки отчета системы  АСКОП</vt:lpstr>
      <vt:lpstr>Оптимизация формирования и выгрузки отчета системы  АСКО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User</cp:lastModifiedBy>
  <cp:revision>261</cp:revision>
  <dcterms:created xsi:type="dcterms:W3CDTF">2019-09-24T12:47:23Z</dcterms:created>
  <dcterms:modified xsi:type="dcterms:W3CDTF">2021-06-08T19:2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754a6712-42df-42a8-bb67-86cccbd87866</vt:lpwstr>
  </property>
  <property fmtid="{D5CDD505-2E9C-101B-9397-08002B2CF9AE}" pid="3" name="ContentTypeId">
    <vt:lpwstr>0x0101000D6FD0086B58C643B10796A38D971115</vt:lpwstr>
  </property>
</Properties>
</file>